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577" r:id="rId2"/>
  </p:sldIdLst>
  <p:sldSz cx="10688638" cy="7562850"/>
  <p:notesSz cx="6797675" cy="9926638"/>
  <p:custDataLst>
    <p:tags r:id="rId5"/>
  </p:custDataLst>
  <p:defaultTextStyle>
    <a:defPPr>
      <a:defRPr lang="de-DE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3. Analyzing the external environment" id="{F6E7B4BF-FC8E-40D3-925E-CDEB900B09DE}">
          <p14:sldIdLst>
            <p14:sldId id="5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423">
          <p15:clr>
            <a:srgbClr val="A4A3A4"/>
          </p15:clr>
        </p15:guide>
        <p15:guide id="2" orient="horz" pos="1185">
          <p15:clr>
            <a:srgbClr val="A4A3A4"/>
          </p15:clr>
        </p15:guide>
        <p15:guide id="3" pos="191">
          <p15:clr>
            <a:srgbClr val="A4A3A4"/>
          </p15:clr>
        </p15:guide>
        <p15:guide id="4" pos="22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7E345"/>
    <a:srgbClr val="C8DF45"/>
    <a:srgbClr val="C8DF34"/>
    <a:srgbClr val="7FA3CF"/>
    <a:srgbClr val="728CAE"/>
    <a:srgbClr val="697CB7"/>
    <a:srgbClr val="748DAF"/>
    <a:srgbClr val="2EFA8A"/>
    <a:srgbClr val="77FD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35" autoAdjust="0"/>
    <p:restoredTop sz="91807" autoAdjust="0"/>
  </p:normalViewPr>
  <p:slideViewPr>
    <p:cSldViewPr snapToObjects="1" showGuides="1">
      <p:cViewPr varScale="1">
        <p:scale>
          <a:sx n="88" d="100"/>
          <a:sy n="88" d="100"/>
        </p:scale>
        <p:origin x="732" y="96"/>
      </p:cViewPr>
      <p:guideLst>
        <p:guide orient="horz" pos="4423"/>
        <p:guide orient="horz" pos="1185"/>
        <p:guide pos="191"/>
        <p:guide pos="22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1078"/>
    </p:cViewPr>
  </p:sorterViewPr>
  <p:notesViewPr>
    <p:cSldViewPr snapToObjects="1">
      <p:cViewPr varScale="1">
        <p:scale>
          <a:sx n="73" d="100"/>
          <a:sy n="73" d="100"/>
        </p:scale>
        <p:origin x="-190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1" y="5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56" y="5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EE9D08-9C14-4BE3-87C3-0807CADF597C}" type="datetimeFigureOut">
              <a:rPr lang="de-DE" smtClean="0"/>
              <a:pPr/>
              <a:t>21.04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1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56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43698E-F3D7-43D6-8A81-8824D5951BE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1713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1" y="5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56" y="5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2D347B-FE2C-4177-A092-D9043DCAA3AC}" type="datetimeFigureOut">
              <a:rPr lang="de-DE" smtClean="0"/>
              <a:pPr/>
              <a:t>21.04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4538"/>
            <a:ext cx="52609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1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56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D71437-6BF9-405E-9A35-A0811E261BD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164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71437-6BF9-405E-9A35-A0811E261BDB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1085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DEED8D61-E8B6-E041-9D61-71A033DF76C2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I. Theoretische Perspektive</a:t>
            </a:r>
          </a:p>
          <a:p>
            <a:pPr>
              <a:defRPr/>
            </a:pPr>
            <a:r>
              <a:rPr lang="de-DE"/>
              <a:t>2. Das Verhalten </a:t>
            </a:r>
            <a:br>
              <a:rPr lang="de-DE"/>
            </a:br>
            <a:r>
              <a:rPr lang="de-DE"/>
              <a:t>der Konsumenten</a:t>
            </a:r>
          </a:p>
        </p:txBody>
      </p:sp>
    </p:spTree>
    <p:extLst>
      <p:ext uri="{BB962C8B-B14F-4D97-AF65-F5344CB8AC3E}">
        <p14:creationId xmlns:p14="http://schemas.microsoft.com/office/powerpoint/2010/main" val="1479060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3212" y="87501"/>
            <a:ext cx="10080625" cy="590227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3213" y="2053234"/>
            <a:ext cx="10055020" cy="469574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864217" y="6993984"/>
            <a:ext cx="2494016" cy="402652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DEED8D61-E8B6-E041-9D61-71A033DF76C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51952" y="7009642"/>
            <a:ext cx="3384735" cy="402652"/>
          </a:xfrm>
        </p:spPr>
        <p:txBody>
          <a:bodyPr/>
          <a:lstStyle/>
          <a:p>
            <a:r>
              <a:rPr lang="de-DE"/>
              <a:t>Market-Oriented Managemen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03213" y="901700"/>
            <a:ext cx="10082212" cy="863600"/>
          </a:xfrm>
        </p:spPr>
        <p:txBody>
          <a:bodyPr lIns="0"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de-DE" dirty="0"/>
              <a:t>AT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03212" y="6993780"/>
            <a:ext cx="1657350" cy="418513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aseline="0">
                <a:solidFill>
                  <a:schemeClr val="bg1">
                    <a:lumMod val="50000"/>
                  </a:schemeClr>
                </a:solidFill>
              </a:defRPr>
            </a:lvl1pPr>
            <a:lvl2pPr marL="521436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 marL="1042874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156431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2085747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Fall 2018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519783" y="5510213"/>
            <a:ext cx="9649071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635119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/>
          <a:p>
            <a:fld id="{DEED8D61-E8B6-E041-9D61-71A033DF76C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432" y="1764666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33391" y="1764666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/>
          <a:p>
            <a:fld id="{DEED8D61-E8B6-E041-9D61-71A033DF76C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/>
          <a:p>
            <a:fld id="{DEED8D61-E8B6-E041-9D61-71A033DF76C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/>
          <a:p>
            <a:fld id="{DEED8D61-E8B6-E041-9D61-71A033DF76C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4433" y="901105"/>
            <a:ext cx="3516488" cy="681491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78960" y="901105"/>
            <a:ext cx="5975246" cy="5854692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/>
          <a:p>
            <a:fld id="{DEED8D61-E8B6-E041-9D61-71A033DF76C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95048" y="901105"/>
            <a:ext cx="6413183" cy="431236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arket-Oriented Managem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/>
          <a:lstStyle/>
          <a:p>
            <a:fld id="{DEED8D61-E8B6-E041-9D61-71A033DF76C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4431" y="973114"/>
            <a:ext cx="9850447" cy="57826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666371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Market-Oriented Management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889822" y="7009642"/>
            <a:ext cx="2494016" cy="402652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DEED8D61-E8B6-E041-9D61-71A033DF76C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Bild 6" descr="Innenbalken 13 oL.jp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10688638" cy="795136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3213" y="109017"/>
            <a:ext cx="10081666" cy="504056"/>
          </a:xfrm>
          <a:prstGeom prst="rect">
            <a:avLst/>
          </a:prstGeom>
        </p:spPr>
        <p:txBody>
          <a:bodyPr vert="horz" lIns="0" tIns="52144" rIns="104287" bIns="52144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7" r:id="rId9"/>
    <p:sldLayoutId id="2147483661" r:id="rId10"/>
  </p:sldLayoutIdLst>
  <p:hf hdr="0" dt="0"/>
  <p:txStyles>
    <p:titleStyle>
      <a:lvl1pPr algn="l" defTabSz="521437" rtl="0" eaLnBrk="1" latinLnBrk="0" hangingPunct="1">
        <a:spcBef>
          <a:spcPct val="0"/>
        </a:spcBef>
        <a:buNone/>
        <a:defRPr sz="1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[3] </a:t>
            </a:r>
            <a:r>
              <a:rPr lang="en-US" dirty="0" err="1"/>
              <a:t>Externe</a:t>
            </a:r>
            <a:r>
              <a:rPr lang="en-US" dirty="0"/>
              <a:t> </a:t>
            </a:r>
            <a:r>
              <a:rPr lang="en-US" dirty="0" err="1"/>
              <a:t>Analyse</a:t>
            </a:r>
            <a:r>
              <a:rPr lang="en-US" dirty="0"/>
              <a:t> der Umwelt | </a:t>
            </a:r>
            <a:r>
              <a:rPr lang="en-US" dirty="0" err="1"/>
              <a:t>Mark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rtfolio of the Boston Consulting Group (BCG Matrix)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1556664" y="1763545"/>
            <a:ext cx="7117370" cy="5110085"/>
            <a:chOff x="2812289" y="1856445"/>
            <a:chExt cx="4745508" cy="4580969"/>
          </a:xfrm>
        </p:grpSpPr>
        <p:sp>
          <p:nvSpPr>
            <p:cNvPr id="24" name="Rectangle 3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235532" y="2000445"/>
              <a:ext cx="2089133" cy="2089800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>
              <a:solidFill>
                <a:srgbClr val="A0A0A0">
                  <a:lumMod val="10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90011" tIns="108014" rIns="90011" bIns="46806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  <a:defRPr sz="1600" b="1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3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6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09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128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700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27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84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41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endParaRPr lang="en-US" b="0" dirty="0">
                <a:latin typeface="Arial" panose="020B0604020202020204" pitchFamily="34" charset="0"/>
              </a:endParaRPr>
            </a:p>
          </p:txBody>
        </p:sp>
        <p:sp>
          <p:nvSpPr>
            <p:cNvPr id="25" name="Rectangle 3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324665" y="2000445"/>
              <a:ext cx="2089133" cy="2089800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0011" tIns="108014" rIns="90011" bIns="46806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  <a:defRPr sz="1600" b="1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3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6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09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128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700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27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84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41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endParaRPr lang="en-US" b="0" dirty="0">
                <a:latin typeface="Arial" panose="020B0604020202020204" pitchFamily="34" charset="0"/>
              </a:endParaRPr>
            </a:p>
          </p:txBody>
        </p:sp>
        <p:sp>
          <p:nvSpPr>
            <p:cNvPr id="26" name="Rectangle 3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532" y="4090245"/>
              <a:ext cx="2089133" cy="2089800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>
              <a:solidFill>
                <a:srgbClr val="A0A0A0">
                  <a:lumMod val="10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90011" tIns="108014" rIns="90011" bIns="46806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  <a:defRPr sz="1600" b="1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3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6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09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128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700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27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84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41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endParaRPr lang="en-US" b="0" dirty="0">
                <a:latin typeface="Arial" panose="020B0604020202020204" pitchFamily="34" charset="0"/>
              </a:endParaRPr>
            </a:p>
          </p:txBody>
        </p:sp>
        <p:sp>
          <p:nvSpPr>
            <p:cNvPr id="27" name="Rectangle 3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324665" y="4090245"/>
              <a:ext cx="2089133" cy="2089800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 w="9525" cap="flat" cmpd="sng" algn="ctr">
              <a:solidFill>
                <a:srgbClr val="A0A0A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0011" tIns="108014" rIns="90011" bIns="46806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30000"/>
                </a:spcBef>
                <a:spcAft>
                  <a:spcPct val="20000"/>
                </a:spcAft>
                <a:buClr>
                  <a:schemeClr val="accent2"/>
                </a:buClr>
                <a:buFont typeface="Wingdings" pitchFamily="2" charset="2"/>
                <a:tabLst>
                  <a:tab pos="266700" algn="l"/>
                  <a:tab pos="631825" algn="l"/>
                  <a:tab pos="981075" algn="l"/>
                </a:tabLst>
                <a:defRPr sz="1600" b="1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3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6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09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128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700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272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844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41600" indent="-203200" algn="l" rtl="0" eaLnBrk="1" fontAlgn="base" hangingPunct="1">
                <a:spcBef>
                  <a:spcPct val="0"/>
                </a:spcBef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  <a:tabLst>
                  <a:tab pos="266700" algn="l"/>
                  <a:tab pos="631825" algn="l"/>
                  <a:tab pos="981075" algn="l"/>
                </a:tabLst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endParaRPr lang="en-US" b="0" dirty="0">
                <a:latin typeface="Arial" panose="020B0604020202020204" pitchFamily="34" charset="0"/>
              </a:endParaRP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3262083" y="6180045"/>
              <a:ext cx="353229" cy="25736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sz="1200" b="0" dirty="0">
                  <a:latin typeface="Arial" panose="020B0604020202020204" pitchFamily="34" charset="0"/>
                </a:rPr>
                <a:t>Low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7017186" y="6180045"/>
              <a:ext cx="386892" cy="25736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r"/>
              <a:r>
                <a:rPr lang="en-US" sz="1200" b="0" dirty="0">
                  <a:latin typeface="Arial" panose="020B0604020202020204" pitchFamily="34" charset="0"/>
                </a:rPr>
                <a:t>High</a:t>
              </a:r>
            </a:p>
          </p:txBody>
        </p:sp>
        <p:sp>
          <p:nvSpPr>
            <p:cNvPr id="31" name="Line 23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3235532" y="6180045"/>
              <a:ext cx="4322265" cy="0"/>
            </a:xfrm>
            <a:prstGeom prst="line">
              <a:avLst/>
            </a:prstGeom>
            <a:noFill/>
            <a:ln w="9525">
              <a:solidFill>
                <a:srgbClr val="A0A0A0">
                  <a:lumMod val="100000"/>
                </a:srgbClr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2812289" y="2000445"/>
              <a:ext cx="423243" cy="257369"/>
            </a:xfrm>
            <a:prstGeom prst="rect">
              <a:avLst/>
            </a:prstGeom>
            <a:noFill/>
          </p:spPr>
          <p:txBody>
            <a:bodyPr wrap="none" lIns="54000" tIns="36000" rIns="54000" bIns="36000" rtlCol="0">
              <a:spAutoFit/>
            </a:bodyPr>
            <a:lstStyle/>
            <a:p>
              <a:pPr algn="r"/>
              <a:r>
                <a:rPr lang="en-US" sz="1200" b="0" dirty="0">
                  <a:latin typeface="Arial" panose="020B0604020202020204" pitchFamily="34" charset="0"/>
                </a:rPr>
                <a:t>High</a:t>
              </a:r>
            </a:p>
          </p:txBody>
        </p:sp>
        <p:sp>
          <p:nvSpPr>
            <p:cNvPr id="33" name="Line 22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3235532" y="1856445"/>
              <a:ext cx="0" cy="4323598"/>
            </a:xfrm>
            <a:prstGeom prst="line">
              <a:avLst/>
            </a:prstGeom>
            <a:noFill/>
            <a:ln w="9525">
              <a:solidFill>
                <a:srgbClr val="A0A0A0">
                  <a:lumMod val="100000"/>
                </a:srgbClr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r"/>
              <a:endParaRPr lang="en-US" b="0" dirty="0">
                <a:latin typeface="Arial" panose="020B0604020202020204" pitchFamily="34" charset="0"/>
              </a:endParaRP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2845951" y="5922676"/>
              <a:ext cx="389581" cy="257369"/>
            </a:xfrm>
            <a:prstGeom prst="rect">
              <a:avLst/>
            </a:prstGeom>
            <a:noFill/>
          </p:spPr>
          <p:txBody>
            <a:bodyPr wrap="none" lIns="54000" tIns="36000" rIns="54000" bIns="36000" rtlCol="0">
              <a:spAutoFit/>
            </a:bodyPr>
            <a:lstStyle/>
            <a:p>
              <a:pPr algn="r"/>
              <a:r>
                <a:rPr lang="en-US" sz="1200" b="0" dirty="0">
                  <a:latin typeface="Arial" panose="020B0604020202020204" pitchFamily="34" charset="0"/>
                </a:rPr>
                <a:t>Low</a:t>
              </a:r>
            </a:p>
          </p:txBody>
        </p:sp>
        <p:sp>
          <p:nvSpPr>
            <p:cNvPr id="35" name="Freeform 45"/>
            <p:cNvSpPr>
              <a:spLocks/>
            </p:cNvSpPr>
            <p:nvPr/>
          </p:nvSpPr>
          <p:spPr bwMode="auto">
            <a:xfrm>
              <a:off x="6150044" y="2800158"/>
              <a:ext cx="557735" cy="444106"/>
            </a:xfrm>
            <a:custGeom>
              <a:avLst/>
              <a:gdLst>
                <a:gd name="T0" fmla="*/ 0 w 525"/>
                <a:gd name="T1" fmla="*/ 194 h 500"/>
                <a:gd name="T2" fmla="*/ 18 w 525"/>
                <a:gd name="T3" fmla="*/ 179 h 500"/>
                <a:gd name="T4" fmla="*/ 176 w 525"/>
                <a:gd name="T5" fmla="*/ 156 h 500"/>
                <a:gd name="T6" fmla="*/ 247 w 525"/>
                <a:gd name="T7" fmla="*/ 13 h 500"/>
                <a:gd name="T8" fmla="*/ 263 w 525"/>
                <a:gd name="T9" fmla="*/ 0 h 500"/>
                <a:gd name="T10" fmla="*/ 278 w 525"/>
                <a:gd name="T11" fmla="*/ 13 h 500"/>
                <a:gd name="T12" fmla="*/ 349 w 525"/>
                <a:gd name="T13" fmla="*/ 156 h 500"/>
                <a:gd name="T14" fmla="*/ 507 w 525"/>
                <a:gd name="T15" fmla="*/ 179 h 500"/>
                <a:gd name="T16" fmla="*/ 525 w 525"/>
                <a:gd name="T17" fmla="*/ 194 h 500"/>
                <a:gd name="T18" fmla="*/ 516 w 525"/>
                <a:gd name="T19" fmla="*/ 209 h 500"/>
                <a:gd name="T20" fmla="*/ 402 w 525"/>
                <a:gd name="T21" fmla="*/ 321 h 500"/>
                <a:gd name="T22" fmla="*/ 429 w 525"/>
                <a:gd name="T23" fmla="*/ 478 h 500"/>
                <a:gd name="T24" fmla="*/ 429 w 525"/>
                <a:gd name="T25" fmla="*/ 484 h 500"/>
                <a:gd name="T26" fmla="*/ 426 w 525"/>
                <a:gd name="T27" fmla="*/ 495 h 500"/>
                <a:gd name="T28" fmla="*/ 417 w 525"/>
                <a:gd name="T29" fmla="*/ 500 h 500"/>
                <a:gd name="T30" fmla="*/ 404 w 525"/>
                <a:gd name="T31" fmla="*/ 496 h 500"/>
                <a:gd name="T32" fmla="*/ 263 w 525"/>
                <a:gd name="T33" fmla="*/ 422 h 500"/>
                <a:gd name="T34" fmla="*/ 121 w 525"/>
                <a:gd name="T35" fmla="*/ 496 h 500"/>
                <a:gd name="T36" fmla="*/ 109 w 525"/>
                <a:gd name="T37" fmla="*/ 500 h 500"/>
                <a:gd name="T38" fmla="*/ 99 w 525"/>
                <a:gd name="T39" fmla="*/ 495 h 500"/>
                <a:gd name="T40" fmla="*/ 95 w 525"/>
                <a:gd name="T41" fmla="*/ 484 h 500"/>
                <a:gd name="T42" fmla="*/ 96 w 525"/>
                <a:gd name="T43" fmla="*/ 478 h 500"/>
                <a:gd name="T44" fmla="*/ 123 w 525"/>
                <a:gd name="T45" fmla="*/ 321 h 500"/>
                <a:gd name="T46" fmla="*/ 8 w 525"/>
                <a:gd name="T47" fmla="*/ 209 h 500"/>
                <a:gd name="T48" fmla="*/ 0 w 525"/>
                <a:gd name="T49" fmla="*/ 19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5" h="500">
                  <a:moveTo>
                    <a:pt x="0" y="194"/>
                  </a:moveTo>
                  <a:cubicBezTo>
                    <a:pt x="0" y="186"/>
                    <a:pt x="6" y="181"/>
                    <a:pt x="18" y="179"/>
                  </a:cubicBezTo>
                  <a:lnTo>
                    <a:pt x="176" y="156"/>
                  </a:lnTo>
                  <a:lnTo>
                    <a:pt x="247" y="13"/>
                  </a:lnTo>
                  <a:cubicBezTo>
                    <a:pt x="251" y="4"/>
                    <a:pt x="256" y="0"/>
                    <a:pt x="263" y="0"/>
                  </a:cubicBezTo>
                  <a:cubicBezTo>
                    <a:pt x="269" y="0"/>
                    <a:pt x="274" y="4"/>
                    <a:pt x="278" y="13"/>
                  </a:cubicBezTo>
                  <a:lnTo>
                    <a:pt x="349" y="156"/>
                  </a:lnTo>
                  <a:lnTo>
                    <a:pt x="507" y="179"/>
                  </a:lnTo>
                  <a:cubicBezTo>
                    <a:pt x="519" y="181"/>
                    <a:pt x="525" y="186"/>
                    <a:pt x="525" y="194"/>
                  </a:cubicBezTo>
                  <a:cubicBezTo>
                    <a:pt x="525" y="199"/>
                    <a:pt x="522" y="204"/>
                    <a:pt x="516" y="209"/>
                  </a:cubicBezTo>
                  <a:lnTo>
                    <a:pt x="402" y="321"/>
                  </a:lnTo>
                  <a:lnTo>
                    <a:pt x="429" y="478"/>
                  </a:lnTo>
                  <a:cubicBezTo>
                    <a:pt x="429" y="479"/>
                    <a:pt x="429" y="482"/>
                    <a:pt x="429" y="484"/>
                  </a:cubicBezTo>
                  <a:cubicBezTo>
                    <a:pt x="429" y="489"/>
                    <a:pt x="428" y="492"/>
                    <a:pt x="426" y="495"/>
                  </a:cubicBezTo>
                  <a:cubicBezTo>
                    <a:pt x="424" y="499"/>
                    <a:pt x="421" y="500"/>
                    <a:pt x="417" y="500"/>
                  </a:cubicBezTo>
                  <a:cubicBezTo>
                    <a:pt x="413" y="500"/>
                    <a:pt x="408" y="499"/>
                    <a:pt x="404" y="496"/>
                  </a:cubicBezTo>
                  <a:lnTo>
                    <a:pt x="263" y="422"/>
                  </a:lnTo>
                  <a:lnTo>
                    <a:pt x="121" y="496"/>
                  </a:lnTo>
                  <a:cubicBezTo>
                    <a:pt x="117" y="499"/>
                    <a:pt x="112" y="500"/>
                    <a:pt x="109" y="500"/>
                  </a:cubicBezTo>
                  <a:cubicBezTo>
                    <a:pt x="104" y="500"/>
                    <a:pt x="101" y="499"/>
                    <a:pt x="99" y="495"/>
                  </a:cubicBezTo>
                  <a:cubicBezTo>
                    <a:pt x="96" y="492"/>
                    <a:pt x="95" y="489"/>
                    <a:pt x="95" y="484"/>
                  </a:cubicBezTo>
                  <a:cubicBezTo>
                    <a:pt x="95" y="483"/>
                    <a:pt x="96" y="481"/>
                    <a:pt x="96" y="478"/>
                  </a:cubicBezTo>
                  <a:lnTo>
                    <a:pt x="123" y="321"/>
                  </a:lnTo>
                  <a:lnTo>
                    <a:pt x="8" y="209"/>
                  </a:lnTo>
                  <a:cubicBezTo>
                    <a:pt x="3" y="203"/>
                    <a:pt x="0" y="198"/>
                    <a:pt x="0" y="19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05"/>
            <p:cNvSpPr>
              <a:spLocks noEditPoints="1"/>
            </p:cNvSpPr>
            <p:nvPr/>
          </p:nvSpPr>
          <p:spPr bwMode="auto">
            <a:xfrm>
              <a:off x="4038046" y="2820743"/>
              <a:ext cx="389268" cy="444106"/>
            </a:xfrm>
            <a:custGeom>
              <a:avLst/>
              <a:gdLst>
                <a:gd name="T0" fmla="*/ 5 w 291"/>
                <a:gd name="T1" fmla="*/ 100 h 403"/>
                <a:gd name="T2" fmla="*/ 1 w 291"/>
                <a:gd name="T3" fmla="*/ 92 h 403"/>
                <a:gd name="T4" fmla="*/ 2 w 291"/>
                <a:gd name="T5" fmla="*/ 83 h 403"/>
                <a:gd name="T6" fmla="*/ 148 w 291"/>
                <a:gd name="T7" fmla="*/ 0 h 403"/>
                <a:gd name="T8" fmla="*/ 199 w 291"/>
                <a:gd name="T9" fmla="*/ 9 h 403"/>
                <a:gd name="T10" fmla="*/ 245 w 291"/>
                <a:gd name="T11" fmla="*/ 36 h 403"/>
                <a:gd name="T12" fmla="*/ 279 w 291"/>
                <a:gd name="T13" fmla="*/ 76 h 403"/>
                <a:gd name="T14" fmla="*/ 291 w 291"/>
                <a:gd name="T15" fmla="*/ 126 h 403"/>
                <a:gd name="T16" fmla="*/ 287 w 291"/>
                <a:gd name="T17" fmla="*/ 157 h 403"/>
                <a:gd name="T18" fmla="*/ 276 w 291"/>
                <a:gd name="T19" fmla="*/ 182 h 403"/>
                <a:gd name="T20" fmla="*/ 258 w 291"/>
                <a:gd name="T21" fmla="*/ 200 h 403"/>
                <a:gd name="T22" fmla="*/ 240 w 291"/>
                <a:gd name="T23" fmla="*/ 214 h 403"/>
                <a:gd name="T24" fmla="*/ 221 w 291"/>
                <a:gd name="T25" fmla="*/ 225 h 403"/>
                <a:gd name="T26" fmla="*/ 199 w 291"/>
                <a:gd name="T27" fmla="*/ 246 h 403"/>
                <a:gd name="T28" fmla="*/ 191 w 291"/>
                <a:gd name="T29" fmla="*/ 267 h 403"/>
                <a:gd name="T30" fmla="*/ 187 w 291"/>
                <a:gd name="T31" fmla="*/ 277 h 403"/>
                <a:gd name="T32" fmla="*/ 178 w 291"/>
                <a:gd name="T33" fmla="*/ 282 h 403"/>
                <a:gd name="T34" fmla="*/ 102 w 291"/>
                <a:gd name="T35" fmla="*/ 282 h 403"/>
                <a:gd name="T36" fmla="*/ 94 w 291"/>
                <a:gd name="T37" fmla="*/ 276 h 403"/>
                <a:gd name="T38" fmla="*/ 91 w 291"/>
                <a:gd name="T39" fmla="*/ 264 h 403"/>
                <a:gd name="T40" fmla="*/ 91 w 291"/>
                <a:gd name="T41" fmla="*/ 250 h 403"/>
                <a:gd name="T42" fmla="*/ 112 w 291"/>
                <a:gd name="T43" fmla="*/ 201 h 403"/>
                <a:gd name="T44" fmla="*/ 157 w 291"/>
                <a:gd name="T45" fmla="*/ 167 h 403"/>
                <a:gd name="T46" fmla="*/ 183 w 291"/>
                <a:gd name="T47" fmla="*/ 149 h 403"/>
                <a:gd name="T48" fmla="*/ 191 w 291"/>
                <a:gd name="T49" fmla="*/ 125 h 403"/>
                <a:gd name="T50" fmla="*/ 176 w 291"/>
                <a:gd name="T51" fmla="*/ 102 h 403"/>
                <a:gd name="T52" fmla="*/ 142 w 291"/>
                <a:gd name="T53" fmla="*/ 92 h 403"/>
                <a:gd name="T54" fmla="*/ 108 w 291"/>
                <a:gd name="T55" fmla="*/ 101 h 403"/>
                <a:gd name="T56" fmla="*/ 75 w 291"/>
                <a:gd name="T57" fmla="*/ 137 h 403"/>
                <a:gd name="T58" fmla="*/ 65 w 291"/>
                <a:gd name="T59" fmla="*/ 142 h 403"/>
                <a:gd name="T60" fmla="*/ 57 w 291"/>
                <a:gd name="T61" fmla="*/ 139 h 403"/>
                <a:gd name="T62" fmla="*/ 5 w 291"/>
                <a:gd name="T63" fmla="*/ 100 h 403"/>
                <a:gd name="T64" fmla="*/ 91 w 291"/>
                <a:gd name="T65" fmla="*/ 390 h 403"/>
                <a:gd name="T66" fmla="*/ 91 w 291"/>
                <a:gd name="T67" fmla="*/ 315 h 403"/>
                <a:gd name="T68" fmla="*/ 95 w 291"/>
                <a:gd name="T69" fmla="*/ 306 h 403"/>
                <a:gd name="T70" fmla="*/ 104 w 291"/>
                <a:gd name="T71" fmla="*/ 302 h 403"/>
                <a:gd name="T72" fmla="*/ 179 w 291"/>
                <a:gd name="T73" fmla="*/ 302 h 403"/>
                <a:gd name="T74" fmla="*/ 188 w 291"/>
                <a:gd name="T75" fmla="*/ 306 h 403"/>
                <a:gd name="T76" fmla="*/ 192 w 291"/>
                <a:gd name="T77" fmla="*/ 315 h 403"/>
                <a:gd name="T78" fmla="*/ 192 w 291"/>
                <a:gd name="T79" fmla="*/ 390 h 403"/>
                <a:gd name="T80" fmla="*/ 188 w 291"/>
                <a:gd name="T81" fmla="*/ 399 h 403"/>
                <a:gd name="T82" fmla="*/ 179 w 291"/>
                <a:gd name="T83" fmla="*/ 403 h 403"/>
                <a:gd name="T84" fmla="*/ 104 w 291"/>
                <a:gd name="T85" fmla="*/ 403 h 403"/>
                <a:gd name="T86" fmla="*/ 95 w 291"/>
                <a:gd name="T87" fmla="*/ 399 h 403"/>
                <a:gd name="T88" fmla="*/ 91 w 291"/>
                <a:gd name="T89" fmla="*/ 39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1" h="403">
                  <a:moveTo>
                    <a:pt x="5" y="100"/>
                  </a:moveTo>
                  <a:cubicBezTo>
                    <a:pt x="3" y="98"/>
                    <a:pt x="1" y="95"/>
                    <a:pt x="1" y="92"/>
                  </a:cubicBezTo>
                  <a:cubicBezTo>
                    <a:pt x="0" y="89"/>
                    <a:pt x="1" y="86"/>
                    <a:pt x="2" y="83"/>
                  </a:cubicBezTo>
                  <a:cubicBezTo>
                    <a:pt x="36" y="28"/>
                    <a:pt x="85" y="0"/>
                    <a:pt x="148" y="0"/>
                  </a:cubicBezTo>
                  <a:cubicBezTo>
                    <a:pt x="165" y="0"/>
                    <a:pt x="182" y="3"/>
                    <a:pt x="199" y="9"/>
                  </a:cubicBezTo>
                  <a:cubicBezTo>
                    <a:pt x="216" y="16"/>
                    <a:pt x="232" y="25"/>
                    <a:pt x="245" y="36"/>
                  </a:cubicBezTo>
                  <a:cubicBezTo>
                    <a:pt x="259" y="46"/>
                    <a:pt x="270" y="60"/>
                    <a:pt x="279" y="76"/>
                  </a:cubicBezTo>
                  <a:cubicBezTo>
                    <a:pt x="287" y="92"/>
                    <a:pt x="291" y="108"/>
                    <a:pt x="291" y="126"/>
                  </a:cubicBezTo>
                  <a:cubicBezTo>
                    <a:pt x="291" y="137"/>
                    <a:pt x="290" y="148"/>
                    <a:pt x="287" y="157"/>
                  </a:cubicBezTo>
                  <a:cubicBezTo>
                    <a:pt x="283" y="167"/>
                    <a:pt x="280" y="175"/>
                    <a:pt x="276" y="182"/>
                  </a:cubicBezTo>
                  <a:cubicBezTo>
                    <a:pt x="271" y="188"/>
                    <a:pt x="266" y="194"/>
                    <a:pt x="258" y="200"/>
                  </a:cubicBezTo>
                  <a:cubicBezTo>
                    <a:pt x="251" y="207"/>
                    <a:pt x="245" y="211"/>
                    <a:pt x="240" y="214"/>
                  </a:cubicBezTo>
                  <a:cubicBezTo>
                    <a:pt x="236" y="217"/>
                    <a:pt x="229" y="221"/>
                    <a:pt x="221" y="225"/>
                  </a:cubicBezTo>
                  <a:cubicBezTo>
                    <a:pt x="212" y="230"/>
                    <a:pt x="205" y="237"/>
                    <a:pt x="199" y="246"/>
                  </a:cubicBezTo>
                  <a:cubicBezTo>
                    <a:pt x="194" y="254"/>
                    <a:pt x="191" y="261"/>
                    <a:pt x="191" y="267"/>
                  </a:cubicBezTo>
                  <a:cubicBezTo>
                    <a:pt x="191" y="270"/>
                    <a:pt x="189" y="274"/>
                    <a:pt x="187" y="277"/>
                  </a:cubicBezTo>
                  <a:cubicBezTo>
                    <a:pt x="184" y="280"/>
                    <a:pt x="181" y="282"/>
                    <a:pt x="178" y="282"/>
                  </a:cubicBezTo>
                  <a:lnTo>
                    <a:pt x="102" y="282"/>
                  </a:lnTo>
                  <a:cubicBezTo>
                    <a:pt x="99" y="282"/>
                    <a:pt x="97" y="280"/>
                    <a:pt x="94" y="276"/>
                  </a:cubicBezTo>
                  <a:cubicBezTo>
                    <a:pt x="92" y="272"/>
                    <a:pt x="91" y="268"/>
                    <a:pt x="91" y="264"/>
                  </a:cubicBezTo>
                  <a:lnTo>
                    <a:pt x="91" y="250"/>
                  </a:lnTo>
                  <a:cubicBezTo>
                    <a:pt x="91" y="233"/>
                    <a:pt x="98" y="216"/>
                    <a:pt x="112" y="201"/>
                  </a:cubicBezTo>
                  <a:cubicBezTo>
                    <a:pt x="125" y="185"/>
                    <a:pt x="140" y="174"/>
                    <a:pt x="157" y="167"/>
                  </a:cubicBezTo>
                  <a:cubicBezTo>
                    <a:pt x="169" y="161"/>
                    <a:pt x="178" y="155"/>
                    <a:pt x="183" y="149"/>
                  </a:cubicBezTo>
                  <a:cubicBezTo>
                    <a:pt x="188" y="143"/>
                    <a:pt x="191" y="135"/>
                    <a:pt x="191" y="125"/>
                  </a:cubicBezTo>
                  <a:cubicBezTo>
                    <a:pt x="191" y="116"/>
                    <a:pt x="186" y="108"/>
                    <a:pt x="176" y="102"/>
                  </a:cubicBezTo>
                  <a:cubicBezTo>
                    <a:pt x="167" y="95"/>
                    <a:pt x="155" y="92"/>
                    <a:pt x="142" y="92"/>
                  </a:cubicBezTo>
                  <a:cubicBezTo>
                    <a:pt x="129" y="92"/>
                    <a:pt x="117" y="95"/>
                    <a:pt x="108" y="101"/>
                  </a:cubicBezTo>
                  <a:cubicBezTo>
                    <a:pt x="101" y="106"/>
                    <a:pt x="90" y="118"/>
                    <a:pt x="75" y="137"/>
                  </a:cubicBezTo>
                  <a:cubicBezTo>
                    <a:pt x="72" y="140"/>
                    <a:pt x="69" y="142"/>
                    <a:pt x="65" y="142"/>
                  </a:cubicBezTo>
                  <a:cubicBezTo>
                    <a:pt x="62" y="142"/>
                    <a:pt x="60" y="141"/>
                    <a:pt x="57" y="139"/>
                  </a:cubicBezTo>
                  <a:lnTo>
                    <a:pt x="5" y="100"/>
                  </a:lnTo>
                  <a:close/>
                  <a:moveTo>
                    <a:pt x="91" y="390"/>
                  </a:moveTo>
                  <a:lnTo>
                    <a:pt x="91" y="315"/>
                  </a:lnTo>
                  <a:cubicBezTo>
                    <a:pt x="91" y="311"/>
                    <a:pt x="92" y="308"/>
                    <a:pt x="95" y="306"/>
                  </a:cubicBezTo>
                  <a:cubicBezTo>
                    <a:pt x="97" y="303"/>
                    <a:pt x="100" y="302"/>
                    <a:pt x="104" y="302"/>
                  </a:cubicBezTo>
                  <a:lnTo>
                    <a:pt x="179" y="302"/>
                  </a:lnTo>
                  <a:cubicBezTo>
                    <a:pt x="183" y="302"/>
                    <a:pt x="186" y="303"/>
                    <a:pt x="188" y="306"/>
                  </a:cubicBezTo>
                  <a:cubicBezTo>
                    <a:pt x="191" y="308"/>
                    <a:pt x="192" y="311"/>
                    <a:pt x="192" y="315"/>
                  </a:cubicBezTo>
                  <a:lnTo>
                    <a:pt x="192" y="390"/>
                  </a:lnTo>
                  <a:cubicBezTo>
                    <a:pt x="192" y="394"/>
                    <a:pt x="191" y="396"/>
                    <a:pt x="188" y="399"/>
                  </a:cubicBezTo>
                  <a:cubicBezTo>
                    <a:pt x="186" y="402"/>
                    <a:pt x="183" y="403"/>
                    <a:pt x="179" y="403"/>
                  </a:cubicBezTo>
                  <a:lnTo>
                    <a:pt x="104" y="403"/>
                  </a:lnTo>
                  <a:cubicBezTo>
                    <a:pt x="100" y="403"/>
                    <a:pt x="97" y="402"/>
                    <a:pt x="95" y="399"/>
                  </a:cubicBezTo>
                  <a:cubicBezTo>
                    <a:pt x="92" y="396"/>
                    <a:pt x="91" y="394"/>
                    <a:pt x="91" y="39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Textfeld 17"/>
            <p:cNvSpPr txBox="1"/>
            <p:nvPr/>
          </p:nvSpPr>
          <p:spPr>
            <a:xfrm rot="16200000">
              <a:off x="2087302" y="3902786"/>
              <a:ext cx="1985993" cy="365390"/>
            </a:xfrm>
            <a:prstGeom prst="rect">
              <a:avLst/>
            </a:prstGeom>
            <a:noFill/>
          </p:spPr>
          <p:txBody>
            <a:bodyPr wrap="none" lIns="54000" tIns="36000" rIns="54000" bIns="36000" rtlCol="0">
              <a:spAutoFit/>
            </a:bodyPr>
            <a:lstStyle/>
            <a:p>
              <a:pPr algn="r"/>
              <a:r>
                <a:rPr lang="en-US" sz="1200" b="1" dirty="0">
                  <a:latin typeface="Arial" panose="020B0604020202020204" pitchFamily="34" charset="0"/>
                </a:rPr>
                <a:t>Market Growth</a:t>
              </a:r>
            </a:p>
          </p:txBody>
        </p:sp>
        <p:sp>
          <p:nvSpPr>
            <p:cNvPr id="38" name="Textfeld 18"/>
            <p:cNvSpPr txBox="1"/>
            <p:nvPr/>
          </p:nvSpPr>
          <p:spPr>
            <a:xfrm>
              <a:off x="4798196" y="6180045"/>
              <a:ext cx="1036108" cy="25736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</a:rPr>
                <a:t>Market Share</a:t>
              </a:r>
            </a:p>
          </p:txBody>
        </p:sp>
        <p:sp>
          <p:nvSpPr>
            <p:cNvPr id="39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99082" y="4921445"/>
              <a:ext cx="1162050" cy="795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6"/>
            <p:cNvSpPr>
              <a:spLocks/>
            </p:cNvSpPr>
            <p:nvPr/>
          </p:nvSpPr>
          <p:spPr bwMode="auto">
            <a:xfrm>
              <a:off x="4038046" y="4872600"/>
              <a:ext cx="483929" cy="411754"/>
            </a:xfrm>
            <a:custGeom>
              <a:avLst/>
              <a:gdLst>
                <a:gd name="T0" fmla="*/ 2931 w 3622"/>
                <a:gd name="T1" fmla="*/ 0 h 3321"/>
                <a:gd name="T2" fmla="*/ 2931 w 3622"/>
                <a:gd name="T3" fmla="*/ 0 h 3321"/>
                <a:gd name="T4" fmla="*/ 3009 w 3622"/>
                <a:gd name="T5" fmla="*/ 22 h 3321"/>
                <a:gd name="T6" fmla="*/ 3114 w 3622"/>
                <a:gd name="T7" fmla="*/ 397 h 3321"/>
                <a:gd name="T8" fmla="*/ 3328 w 3622"/>
                <a:gd name="T9" fmla="*/ 611 h 3321"/>
                <a:gd name="T10" fmla="*/ 3589 w 3622"/>
                <a:gd name="T11" fmla="*/ 765 h 3321"/>
                <a:gd name="T12" fmla="*/ 3622 w 3622"/>
                <a:gd name="T13" fmla="*/ 1013 h 3321"/>
                <a:gd name="T14" fmla="*/ 3332 w 3622"/>
                <a:gd name="T15" fmla="*/ 1140 h 3321"/>
                <a:gd name="T16" fmla="*/ 3091 w 3622"/>
                <a:gd name="T17" fmla="*/ 1065 h 3321"/>
                <a:gd name="T18" fmla="*/ 2991 w 3622"/>
                <a:gd name="T19" fmla="*/ 1068 h 3321"/>
                <a:gd name="T20" fmla="*/ 2860 w 3622"/>
                <a:gd name="T21" fmla="*/ 1156 h 3321"/>
                <a:gd name="T22" fmla="*/ 2746 w 3622"/>
                <a:gd name="T23" fmla="*/ 3011 h 3321"/>
                <a:gd name="T24" fmla="*/ 2805 w 3622"/>
                <a:gd name="T25" fmla="*/ 3125 h 3321"/>
                <a:gd name="T26" fmla="*/ 2921 w 3622"/>
                <a:gd name="T27" fmla="*/ 3217 h 3321"/>
                <a:gd name="T28" fmla="*/ 2856 w 3622"/>
                <a:gd name="T29" fmla="*/ 3321 h 3321"/>
                <a:gd name="T30" fmla="*/ 2680 w 3622"/>
                <a:gd name="T31" fmla="*/ 3321 h 3321"/>
                <a:gd name="T32" fmla="*/ 2509 w 3622"/>
                <a:gd name="T33" fmla="*/ 3146 h 3321"/>
                <a:gd name="T34" fmla="*/ 2451 w 3622"/>
                <a:gd name="T35" fmla="*/ 2317 h 3321"/>
                <a:gd name="T36" fmla="*/ 2309 w 3622"/>
                <a:gd name="T37" fmla="*/ 3028 h 3321"/>
                <a:gd name="T38" fmla="*/ 2440 w 3622"/>
                <a:gd name="T39" fmla="*/ 3095 h 3321"/>
                <a:gd name="T40" fmla="*/ 2463 w 3622"/>
                <a:gd name="T41" fmla="*/ 3208 h 3321"/>
                <a:gd name="T42" fmla="*/ 2357 w 3622"/>
                <a:gd name="T43" fmla="*/ 3287 h 3321"/>
                <a:gd name="T44" fmla="*/ 2162 w 3622"/>
                <a:gd name="T45" fmla="*/ 3287 h 3321"/>
                <a:gd name="T46" fmla="*/ 2046 w 3622"/>
                <a:gd name="T47" fmla="*/ 3093 h 3321"/>
                <a:gd name="T48" fmla="*/ 2130 w 3622"/>
                <a:gd name="T49" fmla="*/ 2277 h 3321"/>
                <a:gd name="T50" fmla="*/ 2093 w 3622"/>
                <a:gd name="T51" fmla="*/ 2141 h 3321"/>
                <a:gd name="T52" fmla="*/ 1218 w 3622"/>
                <a:gd name="T53" fmla="*/ 1977 h 3321"/>
                <a:gd name="T54" fmla="*/ 1060 w 3622"/>
                <a:gd name="T55" fmla="*/ 1999 h 3321"/>
                <a:gd name="T56" fmla="*/ 949 w 3622"/>
                <a:gd name="T57" fmla="*/ 2182 h 3321"/>
                <a:gd name="T58" fmla="*/ 788 w 3622"/>
                <a:gd name="T59" fmla="*/ 2623 h 3321"/>
                <a:gd name="T60" fmla="*/ 805 w 3622"/>
                <a:gd name="T61" fmla="*/ 3029 h 3321"/>
                <a:gd name="T62" fmla="*/ 967 w 3622"/>
                <a:gd name="T63" fmla="*/ 3203 h 3321"/>
                <a:gd name="T64" fmla="*/ 925 w 3622"/>
                <a:gd name="T65" fmla="*/ 3286 h 3321"/>
                <a:gd name="T66" fmla="*/ 669 w 3622"/>
                <a:gd name="T67" fmla="*/ 3286 h 3321"/>
                <a:gd name="T68" fmla="*/ 583 w 3622"/>
                <a:gd name="T69" fmla="*/ 3157 h 3321"/>
                <a:gd name="T70" fmla="*/ 466 w 3622"/>
                <a:gd name="T71" fmla="*/ 2796 h 3321"/>
                <a:gd name="T72" fmla="*/ 460 w 3622"/>
                <a:gd name="T73" fmla="*/ 2487 h 3321"/>
                <a:gd name="T74" fmla="*/ 448 w 3622"/>
                <a:gd name="T75" fmla="*/ 2479 h 3321"/>
                <a:gd name="T76" fmla="*/ 415 w 3622"/>
                <a:gd name="T77" fmla="*/ 2528 h 3321"/>
                <a:gd name="T78" fmla="*/ 307 w 3622"/>
                <a:gd name="T79" fmla="*/ 2865 h 3321"/>
                <a:gd name="T80" fmla="*/ 346 w 3622"/>
                <a:gd name="T81" fmla="*/ 3102 h 3321"/>
                <a:gd name="T82" fmla="*/ 477 w 3622"/>
                <a:gd name="T83" fmla="*/ 3243 h 3321"/>
                <a:gd name="T84" fmla="*/ 394 w 3622"/>
                <a:gd name="T85" fmla="*/ 3321 h 3321"/>
                <a:gd name="T86" fmla="*/ 158 w 3622"/>
                <a:gd name="T87" fmla="*/ 3321 h 3321"/>
                <a:gd name="T88" fmla="*/ 64 w 3622"/>
                <a:gd name="T89" fmla="*/ 3107 h 3321"/>
                <a:gd name="T90" fmla="*/ 67 w 3622"/>
                <a:gd name="T91" fmla="*/ 2632 h 3321"/>
                <a:gd name="T92" fmla="*/ 118 w 3622"/>
                <a:gd name="T93" fmla="*/ 2456 h 3321"/>
                <a:gd name="T94" fmla="*/ 133 w 3622"/>
                <a:gd name="T95" fmla="*/ 2126 h 3321"/>
                <a:gd name="T96" fmla="*/ 40 w 3622"/>
                <a:gd name="T97" fmla="*/ 1627 h 3321"/>
                <a:gd name="T98" fmla="*/ 180 w 3622"/>
                <a:gd name="T99" fmla="*/ 1222 h 3321"/>
                <a:gd name="T100" fmla="*/ 180 w 3622"/>
                <a:gd name="T101" fmla="*/ 1215 h 3321"/>
                <a:gd name="T102" fmla="*/ 28 w 3622"/>
                <a:gd name="T103" fmla="*/ 802 h 3321"/>
                <a:gd name="T104" fmla="*/ 0 w 3622"/>
                <a:gd name="T105" fmla="*/ 527 h 3321"/>
                <a:gd name="T106" fmla="*/ 41 w 3622"/>
                <a:gd name="T107" fmla="*/ 449 h 3321"/>
                <a:gd name="T108" fmla="*/ 165 w 3622"/>
                <a:gd name="T109" fmla="*/ 499 h 3321"/>
                <a:gd name="T110" fmla="*/ 277 w 3622"/>
                <a:gd name="T111" fmla="*/ 923 h 3321"/>
                <a:gd name="T112" fmla="*/ 422 w 3622"/>
                <a:gd name="T113" fmla="*/ 1029 h 3321"/>
                <a:gd name="T114" fmla="*/ 1652 w 3622"/>
                <a:gd name="T115" fmla="*/ 1030 h 3321"/>
                <a:gd name="T116" fmla="*/ 1941 w 3622"/>
                <a:gd name="T117" fmla="*/ 989 h 3321"/>
                <a:gd name="T118" fmla="*/ 2235 w 3622"/>
                <a:gd name="T119" fmla="*/ 800 h 3321"/>
                <a:gd name="T120" fmla="*/ 2931 w 3622"/>
                <a:gd name="T121" fmla="*/ 0 h 3321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581 w 10000"/>
                <a:gd name="connsiteY11" fmla="*/ 9067 h 10000"/>
                <a:gd name="connsiteX12" fmla="*/ 7744 w 10000"/>
                <a:gd name="connsiteY12" fmla="*/ 9410 h 10000"/>
                <a:gd name="connsiteX13" fmla="*/ 8065 w 10000"/>
                <a:gd name="connsiteY13" fmla="*/ 9687 h 10000"/>
                <a:gd name="connsiteX14" fmla="*/ 7885 w 10000"/>
                <a:gd name="connsiteY14" fmla="*/ 10000 h 10000"/>
                <a:gd name="connsiteX15" fmla="*/ 7399 w 10000"/>
                <a:gd name="connsiteY15" fmla="*/ 10000 h 10000"/>
                <a:gd name="connsiteX16" fmla="*/ 6927 w 10000"/>
                <a:gd name="connsiteY16" fmla="*/ 9473 h 10000"/>
                <a:gd name="connsiteX17" fmla="*/ 6767 w 10000"/>
                <a:gd name="connsiteY17" fmla="*/ 6977 h 10000"/>
                <a:gd name="connsiteX18" fmla="*/ 6375 w 10000"/>
                <a:gd name="connsiteY18" fmla="*/ 9118 h 10000"/>
                <a:gd name="connsiteX19" fmla="*/ 6737 w 10000"/>
                <a:gd name="connsiteY19" fmla="*/ 9319 h 10000"/>
                <a:gd name="connsiteX20" fmla="*/ 6800 w 10000"/>
                <a:gd name="connsiteY20" fmla="*/ 9660 h 10000"/>
                <a:gd name="connsiteX21" fmla="*/ 6507 w 10000"/>
                <a:gd name="connsiteY21" fmla="*/ 9898 h 10000"/>
                <a:gd name="connsiteX22" fmla="*/ 5969 w 10000"/>
                <a:gd name="connsiteY22" fmla="*/ 9898 h 10000"/>
                <a:gd name="connsiteX23" fmla="*/ 5649 w 10000"/>
                <a:gd name="connsiteY23" fmla="*/ 9313 h 10000"/>
                <a:gd name="connsiteX24" fmla="*/ 5881 w 10000"/>
                <a:gd name="connsiteY24" fmla="*/ 6856 h 10000"/>
                <a:gd name="connsiteX25" fmla="*/ 5779 w 10000"/>
                <a:gd name="connsiteY25" fmla="*/ 6447 h 10000"/>
                <a:gd name="connsiteX26" fmla="*/ 3363 w 10000"/>
                <a:gd name="connsiteY26" fmla="*/ 5953 h 10000"/>
                <a:gd name="connsiteX27" fmla="*/ 2927 w 10000"/>
                <a:gd name="connsiteY27" fmla="*/ 6019 h 10000"/>
                <a:gd name="connsiteX28" fmla="*/ 2620 w 10000"/>
                <a:gd name="connsiteY28" fmla="*/ 6570 h 10000"/>
                <a:gd name="connsiteX29" fmla="*/ 2176 w 10000"/>
                <a:gd name="connsiteY29" fmla="*/ 7898 h 10000"/>
                <a:gd name="connsiteX30" fmla="*/ 2223 w 10000"/>
                <a:gd name="connsiteY30" fmla="*/ 9121 h 10000"/>
                <a:gd name="connsiteX31" fmla="*/ 2670 w 10000"/>
                <a:gd name="connsiteY31" fmla="*/ 9645 h 10000"/>
                <a:gd name="connsiteX32" fmla="*/ 2554 w 10000"/>
                <a:gd name="connsiteY32" fmla="*/ 9895 h 10000"/>
                <a:gd name="connsiteX33" fmla="*/ 1847 w 10000"/>
                <a:gd name="connsiteY33" fmla="*/ 9895 h 10000"/>
                <a:gd name="connsiteX34" fmla="*/ 1610 w 10000"/>
                <a:gd name="connsiteY34" fmla="*/ 9506 h 10000"/>
                <a:gd name="connsiteX35" fmla="*/ 1287 w 10000"/>
                <a:gd name="connsiteY35" fmla="*/ 8419 h 10000"/>
                <a:gd name="connsiteX36" fmla="*/ 1270 w 10000"/>
                <a:gd name="connsiteY36" fmla="*/ 7489 h 10000"/>
                <a:gd name="connsiteX37" fmla="*/ 1237 w 10000"/>
                <a:gd name="connsiteY37" fmla="*/ 7465 h 10000"/>
                <a:gd name="connsiteX38" fmla="*/ 1146 w 10000"/>
                <a:gd name="connsiteY38" fmla="*/ 7612 h 10000"/>
                <a:gd name="connsiteX39" fmla="*/ 848 w 10000"/>
                <a:gd name="connsiteY39" fmla="*/ 8627 h 10000"/>
                <a:gd name="connsiteX40" fmla="*/ 955 w 10000"/>
                <a:gd name="connsiteY40" fmla="*/ 9341 h 10000"/>
                <a:gd name="connsiteX41" fmla="*/ 1317 w 10000"/>
                <a:gd name="connsiteY41" fmla="*/ 9765 h 10000"/>
                <a:gd name="connsiteX42" fmla="*/ 1088 w 10000"/>
                <a:gd name="connsiteY42" fmla="*/ 10000 h 10000"/>
                <a:gd name="connsiteX43" fmla="*/ 436 w 10000"/>
                <a:gd name="connsiteY43" fmla="*/ 10000 h 10000"/>
                <a:gd name="connsiteX44" fmla="*/ 177 w 10000"/>
                <a:gd name="connsiteY44" fmla="*/ 9356 h 10000"/>
                <a:gd name="connsiteX45" fmla="*/ 185 w 10000"/>
                <a:gd name="connsiteY45" fmla="*/ 7925 h 10000"/>
                <a:gd name="connsiteX46" fmla="*/ 326 w 10000"/>
                <a:gd name="connsiteY46" fmla="*/ 7395 h 10000"/>
                <a:gd name="connsiteX47" fmla="*/ 367 w 10000"/>
                <a:gd name="connsiteY47" fmla="*/ 6402 h 10000"/>
                <a:gd name="connsiteX48" fmla="*/ 110 w 10000"/>
                <a:gd name="connsiteY48" fmla="*/ 4899 h 10000"/>
                <a:gd name="connsiteX49" fmla="*/ 497 w 10000"/>
                <a:gd name="connsiteY49" fmla="*/ 3680 h 10000"/>
                <a:gd name="connsiteX50" fmla="*/ 497 w 10000"/>
                <a:gd name="connsiteY50" fmla="*/ 3659 h 10000"/>
                <a:gd name="connsiteX51" fmla="*/ 77 w 10000"/>
                <a:gd name="connsiteY51" fmla="*/ 2415 h 10000"/>
                <a:gd name="connsiteX52" fmla="*/ 0 w 10000"/>
                <a:gd name="connsiteY52" fmla="*/ 1587 h 10000"/>
                <a:gd name="connsiteX53" fmla="*/ 113 w 10000"/>
                <a:gd name="connsiteY53" fmla="*/ 1352 h 10000"/>
                <a:gd name="connsiteX54" fmla="*/ 456 w 10000"/>
                <a:gd name="connsiteY54" fmla="*/ 1503 h 10000"/>
                <a:gd name="connsiteX55" fmla="*/ 765 w 10000"/>
                <a:gd name="connsiteY55" fmla="*/ 2779 h 10000"/>
                <a:gd name="connsiteX56" fmla="*/ 1165 w 10000"/>
                <a:gd name="connsiteY56" fmla="*/ 3098 h 10000"/>
                <a:gd name="connsiteX57" fmla="*/ 2755 w 10000"/>
                <a:gd name="connsiteY57" fmla="*/ 3046 h 10000"/>
                <a:gd name="connsiteX58" fmla="*/ 4561 w 10000"/>
                <a:gd name="connsiteY58" fmla="*/ 3101 h 10000"/>
                <a:gd name="connsiteX59" fmla="*/ 5359 w 10000"/>
                <a:gd name="connsiteY59" fmla="*/ 2978 h 10000"/>
                <a:gd name="connsiteX60" fmla="*/ 6171 w 10000"/>
                <a:gd name="connsiteY60" fmla="*/ 2409 h 10000"/>
                <a:gd name="connsiteX61" fmla="*/ 8092 w 10000"/>
                <a:gd name="connsiteY61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714 w 10000"/>
                <a:gd name="connsiteY11" fmla="*/ 5271 h 10000"/>
                <a:gd name="connsiteX12" fmla="*/ 7581 w 10000"/>
                <a:gd name="connsiteY12" fmla="*/ 9067 h 10000"/>
                <a:gd name="connsiteX13" fmla="*/ 7744 w 10000"/>
                <a:gd name="connsiteY13" fmla="*/ 9410 h 10000"/>
                <a:gd name="connsiteX14" fmla="*/ 8065 w 10000"/>
                <a:gd name="connsiteY14" fmla="*/ 9687 h 10000"/>
                <a:gd name="connsiteX15" fmla="*/ 7885 w 10000"/>
                <a:gd name="connsiteY15" fmla="*/ 10000 h 10000"/>
                <a:gd name="connsiteX16" fmla="*/ 7399 w 10000"/>
                <a:gd name="connsiteY16" fmla="*/ 10000 h 10000"/>
                <a:gd name="connsiteX17" fmla="*/ 6927 w 10000"/>
                <a:gd name="connsiteY17" fmla="*/ 9473 h 10000"/>
                <a:gd name="connsiteX18" fmla="*/ 6767 w 10000"/>
                <a:gd name="connsiteY18" fmla="*/ 6977 h 10000"/>
                <a:gd name="connsiteX19" fmla="*/ 6375 w 10000"/>
                <a:gd name="connsiteY19" fmla="*/ 9118 h 10000"/>
                <a:gd name="connsiteX20" fmla="*/ 6737 w 10000"/>
                <a:gd name="connsiteY20" fmla="*/ 9319 h 10000"/>
                <a:gd name="connsiteX21" fmla="*/ 6800 w 10000"/>
                <a:gd name="connsiteY21" fmla="*/ 9660 h 10000"/>
                <a:gd name="connsiteX22" fmla="*/ 6507 w 10000"/>
                <a:gd name="connsiteY22" fmla="*/ 9898 h 10000"/>
                <a:gd name="connsiteX23" fmla="*/ 5969 w 10000"/>
                <a:gd name="connsiteY23" fmla="*/ 9898 h 10000"/>
                <a:gd name="connsiteX24" fmla="*/ 5649 w 10000"/>
                <a:gd name="connsiteY24" fmla="*/ 9313 h 10000"/>
                <a:gd name="connsiteX25" fmla="*/ 5881 w 10000"/>
                <a:gd name="connsiteY25" fmla="*/ 6856 h 10000"/>
                <a:gd name="connsiteX26" fmla="*/ 5779 w 10000"/>
                <a:gd name="connsiteY26" fmla="*/ 6447 h 10000"/>
                <a:gd name="connsiteX27" fmla="*/ 3363 w 10000"/>
                <a:gd name="connsiteY27" fmla="*/ 5953 h 10000"/>
                <a:gd name="connsiteX28" fmla="*/ 2927 w 10000"/>
                <a:gd name="connsiteY28" fmla="*/ 6019 h 10000"/>
                <a:gd name="connsiteX29" fmla="*/ 2620 w 10000"/>
                <a:gd name="connsiteY29" fmla="*/ 6570 h 10000"/>
                <a:gd name="connsiteX30" fmla="*/ 2176 w 10000"/>
                <a:gd name="connsiteY30" fmla="*/ 7898 h 10000"/>
                <a:gd name="connsiteX31" fmla="*/ 2223 w 10000"/>
                <a:gd name="connsiteY31" fmla="*/ 9121 h 10000"/>
                <a:gd name="connsiteX32" fmla="*/ 2670 w 10000"/>
                <a:gd name="connsiteY32" fmla="*/ 9645 h 10000"/>
                <a:gd name="connsiteX33" fmla="*/ 2554 w 10000"/>
                <a:gd name="connsiteY33" fmla="*/ 9895 h 10000"/>
                <a:gd name="connsiteX34" fmla="*/ 1847 w 10000"/>
                <a:gd name="connsiteY34" fmla="*/ 9895 h 10000"/>
                <a:gd name="connsiteX35" fmla="*/ 1610 w 10000"/>
                <a:gd name="connsiteY35" fmla="*/ 9506 h 10000"/>
                <a:gd name="connsiteX36" fmla="*/ 1287 w 10000"/>
                <a:gd name="connsiteY36" fmla="*/ 8419 h 10000"/>
                <a:gd name="connsiteX37" fmla="*/ 1270 w 10000"/>
                <a:gd name="connsiteY37" fmla="*/ 7489 h 10000"/>
                <a:gd name="connsiteX38" fmla="*/ 1237 w 10000"/>
                <a:gd name="connsiteY38" fmla="*/ 7465 h 10000"/>
                <a:gd name="connsiteX39" fmla="*/ 1146 w 10000"/>
                <a:gd name="connsiteY39" fmla="*/ 7612 h 10000"/>
                <a:gd name="connsiteX40" fmla="*/ 848 w 10000"/>
                <a:gd name="connsiteY40" fmla="*/ 8627 h 10000"/>
                <a:gd name="connsiteX41" fmla="*/ 955 w 10000"/>
                <a:gd name="connsiteY41" fmla="*/ 9341 h 10000"/>
                <a:gd name="connsiteX42" fmla="*/ 1317 w 10000"/>
                <a:gd name="connsiteY42" fmla="*/ 9765 h 10000"/>
                <a:gd name="connsiteX43" fmla="*/ 1088 w 10000"/>
                <a:gd name="connsiteY43" fmla="*/ 10000 h 10000"/>
                <a:gd name="connsiteX44" fmla="*/ 436 w 10000"/>
                <a:gd name="connsiteY44" fmla="*/ 10000 h 10000"/>
                <a:gd name="connsiteX45" fmla="*/ 177 w 10000"/>
                <a:gd name="connsiteY45" fmla="*/ 9356 h 10000"/>
                <a:gd name="connsiteX46" fmla="*/ 185 w 10000"/>
                <a:gd name="connsiteY46" fmla="*/ 7925 h 10000"/>
                <a:gd name="connsiteX47" fmla="*/ 326 w 10000"/>
                <a:gd name="connsiteY47" fmla="*/ 7395 h 10000"/>
                <a:gd name="connsiteX48" fmla="*/ 367 w 10000"/>
                <a:gd name="connsiteY48" fmla="*/ 6402 h 10000"/>
                <a:gd name="connsiteX49" fmla="*/ 110 w 10000"/>
                <a:gd name="connsiteY49" fmla="*/ 4899 h 10000"/>
                <a:gd name="connsiteX50" fmla="*/ 497 w 10000"/>
                <a:gd name="connsiteY50" fmla="*/ 3680 h 10000"/>
                <a:gd name="connsiteX51" fmla="*/ 497 w 10000"/>
                <a:gd name="connsiteY51" fmla="*/ 3659 h 10000"/>
                <a:gd name="connsiteX52" fmla="*/ 77 w 10000"/>
                <a:gd name="connsiteY52" fmla="*/ 2415 h 10000"/>
                <a:gd name="connsiteX53" fmla="*/ 0 w 10000"/>
                <a:gd name="connsiteY53" fmla="*/ 1587 h 10000"/>
                <a:gd name="connsiteX54" fmla="*/ 113 w 10000"/>
                <a:gd name="connsiteY54" fmla="*/ 1352 h 10000"/>
                <a:gd name="connsiteX55" fmla="*/ 456 w 10000"/>
                <a:gd name="connsiteY55" fmla="*/ 1503 h 10000"/>
                <a:gd name="connsiteX56" fmla="*/ 765 w 10000"/>
                <a:gd name="connsiteY56" fmla="*/ 2779 h 10000"/>
                <a:gd name="connsiteX57" fmla="*/ 1165 w 10000"/>
                <a:gd name="connsiteY57" fmla="*/ 3098 h 10000"/>
                <a:gd name="connsiteX58" fmla="*/ 2755 w 10000"/>
                <a:gd name="connsiteY58" fmla="*/ 3046 h 10000"/>
                <a:gd name="connsiteX59" fmla="*/ 4561 w 10000"/>
                <a:gd name="connsiteY59" fmla="*/ 3101 h 10000"/>
                <a:gd name="connsiteX60" fmla="*/ 5359 w 10000"/>
                <a:gd name="connsiteY60" fmla="*/ 2978 h 10000"/>
                <a:gd name="connsiteX61" fmla="*/ 6171 w 10000"/>
                <a:gd name="connsiteY61" fmla="*/ 2409 h 10000"/>
                <a:gd name="connsiteX62" fmla="*/ 8092 w 10000"/>
                <a:gd name="connsiteY62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714 w 10000"/>
                <a:gd name="connsiteY11" fmla="*/ 5271 h 10000"/>
                <a:gd name="connsiteX12" fmla="*/ 7679 w 10000"/>
                <a:gd name="connsiteY12" fmla="*/ 7695 h 10000"/>
                <a:gd name="connsiteX13" fmla="*/ 7581 w 10000"/>
                <a:gd name="connsiteY13" fmla="*/ 9067 h 10000"/>
                <a:gd name="connsiteX14" fmla="*/ 7744 w 10000"/>
                <a:gd name="connsiteY14" fmla="*/ 9410 h 10000"/>
                <a:gd name="connsiteX15" fmla="*/ 8065 w 10000"/>
                <a:gd name="connsiteY15" fmla="*/ 9687 h 10000"/>
                <a:gd name="connsiteX16" fmla="*/ 7885 w 10000"/>
                <a:gd name="connsiteY16" fmla="*/ 10000 h 10000"/>
                <a:gd name="connsiteX17" fmla="*/ 7399 w 10000"/>
                <a:gd name="connsiteY17" fmla="*/ 10000 h 10000"/>
                <a:gd name="connsiteX18" fmla="*/ 6927 w 10000"/>
                <a:gd name="connsiteY18" fmla="*/ 9473 h 10000"/>
                <a:gd name="connsiteX19" fmla="*/ 6767 w 10000"/>
                <a:gd name="connsiteY19" fmla="*/ 6977 h 10000"/>
                <a:gd name="connsiteX20" fmla="*/ 6375 w 10000"/>
                <a:gd name="connsiteY20" fmla="*/ 9118 h 10000"/>
                <a:gd name="connsiteX21" fmla="*/ 6737 w 10000"/>
                <a:gd name="connsiteY21" fmla="*/ 9319 h 10000"/>
                <a:gd name="connsiteX22" fmla="*/ 6800 w 10000"/>
                <a:gd name="connsiteY22" fmla="*/ 9660 h 10000"/>
                <a:gd name="connsiteX23" fmla="*/ 6507 w 10000"/>
                <a:gd name="connsiteY23" fmla="*/ 9898 h 10000"/>
                <a:gd name="connsiteX24" fmla="*/ 5969 w 10000"/>
                <a:gd name="connsiteY24" fmla="*/ 9898 h 10000"/>
                <a:gd name="connsiteX25" fmla="*/ 5649 w 10000"/>
                <a:gd name="connsiteY25" fmla="*/ 9313 h 10000"/>
                <a:gd name="connsiteX26" fmla="*/ 5881 w 10000"/>
                <a:gd name="connsiteY26" fmla="*/ 6856 h 10000"/>
                <a:gd name="connsiteX27" fmla="*/ 5779 w 10000"/>
                <a:gd name="connsiteY27" fmla="*/ 6447 h 10000"/>
                <a:gd name="connsiteX28" fmla="*/ 3363 w 10000"/>
                <a:gd name="connsiteY28" fmla="*/ 5953 h 10000"/>
                <a:gd name="connsiteX29" fmla="*/ 2927 w 10000"/>
                <a:gd name="connsiteY29" fmla="*/ 6019 h 10000"/>
                <a:gd name="connsiteX30" fmla="*/ 2620 w 10000"/>
                <a:gd name="connsiteY30" fmla="*/ 6570 h 10000"/>
                <a:gd name="connsiteX31" fmla="*/ 2176 w 10000"/>
                <a:gd name="connsiteY31" fmla="*/ 7898 h 10000"/>
                <a:gd name="connsiteX32" fmla="*/ 2223 w 10000"/>
                <a:gd name="connsiteY32" fmla="*/ 9121 h 10000"/>
                <a:gd name="connsiteX33" fmla="*/ 2670 w 10000"/>
                <a:gd name="connsiteY33" fmla="*/ 9645 h 10000"/>
                <a:gd name="connsiteX34" fmla="*/ 2554 w 10000"/>
                <a:gd name="connsiteY34" fmla="*/ 9895 h 10000"/>
                <a:gd name="connsiteX35" fmla="*/ 1847 w 10000"/>
                <a:gd name="connsiteY35" fmla="*/ 9895 h 10000"/>
                <a:gd name="connsiteX36" fmla="*/ 1610 w 10000"/>
                <a:gd name="connsiteY36" fmla="*/ 9506 h 10000"/>
                <a:gd name="connsiteX37" fmla="*/ 1287 w 10000"/>
                <a:gd name="connsiteY37" fmla="*/ 8419 h 10000"/>
                <a:gd name="connsiteX38" fmla="*/ 1270 w 10000"/>
                <a:gd name="connsiteY38" fmla="*/ 7489 h 10000"/>
                <a:gd name="connsiteX39" fmla="*/ 1237 w 10000"/>
                <a:gd name="connsiteY39" fmla="*/ 7465 h 10000"/>
                <a:gd name="connsiteX40" fmla="*/ 1146 w 10000"/>
                <a:gd name="connsiteY40" fmla="*/ 7612 h 10000"/>
                <a:gd name="connsiteX41" fmla="*/ 848 w 10000"/>
                <a:gd name="connsiteY41" fmla="*/ 8627 h 10000"/>
                <a:gd name="connsiteX42" fmla="*/ 955 w 10000"/>
                <a:gd name="connsiteY42" fmla="*/ 9341 h 10000"/>
                <a:gd name="connsiteX43" fmla="*/ 1317 w 10000"/>
                <a:gd name="connsiteY43" fmla="*/ 9765 h 10000"/>
                <a:gd name="connsiteX44" fmla="*/ 1088 w 10000"/>
                <a:gd name="connsiteY44" fmla="*/ 10000 h 10000"/>
                <a:gd name="connsiteX45" fmla="*/ 436 w 10000"/>
                <a:gd name="connsiteY45" fmla="*/ 10000 h 10000"/>
                <a:gd name="connsiteX46" fmla="*/ 177 w 10000"/>
                <a:gd name="connsiteY46" fmla="*/ 9356 h 10000"/>
                <a:gd name="connsiteX47" fmla="*/ 185 w 10000"/>
                <a:gd name="connsiteY47" fmla="*/ 7925 h 10000"/>
                <a:gd name="connsiteX48" fmla="*/ 326 w 10000"/>
                <a:gd name="connsiteY48" fmla="*/ 7395 h 10000"/>
                <a:gd name="connsiteX49" fmla="*/ 367 w 10000"/>
                <a:gd name="connsiteY49" fmla="*/ 6402 h 10000"/>
                <a:gd name="connsiteX50" fmla="*/ 110 w 10000"/>
                <a:gd name="connsiteY50" fmla="*/ 4899 h 10000"/>
                <a:gd name="connsiteX51" fmla="*/ 497 w 10000"/>
                <a:gd name="connsiteY51" fmla="*/ 3680 h 10000"/>
                <a:gd name="connsiteX52" fmla="*/ 497 w 10000"/>
                <a:gd name="connsiteY52" fmla="*/ 3659 h 10000"/>
                <a:gd name="connsiteX53" fmla="*/ 77 w 10000"/>
                <a:gd name="connsiteY53" fmla="*/ 2415 h 10000"/>
                <a:gd name="connsiteX54" fmla="*/ 0 w 10000"/>
                <a:gd name="connsiteY54" fmla="*/ 1587 h 10000"/>
                <a:gd name="connsiteX55" fmla="*/ 113 w 10000"/>
                <a:gd name="connsiteY55" fmla="*/ 1352 h 10000"/>
                <a:gd name="connsiteX56" fmla="*/ 456 w 10000"/>
                <a:gd name="connsiteY56" fmla="*/ 1503 h 10000"/>
                <a:gd name="connsiteX57" fmla="*/ 765 w 10000"/>
                <a:gd name="connsiteY57" fmla="*/ 2779 h 10000"/>
                <a:gd name="connsiteX58" fmla="*/ 1165 w 10000"/>
                <a:gd name="connsiteY58" fmla="*/ 3098 h 10000"/>
                <a:gd name="connsiteX59" fmla="*/ 2755 w 10000"/>
                <a:gd name="connsiteY59" fmla="*/ 3046 h 10000"/>
                <a:gd name="connsiteX60" fmla="*/ 4561 w 10000"/>
                <a:gd name="connsiteY60" fmla="*/ 3101 h 10000"/>
                <a:gd name="connsiteX61" fmla="*/ 5359 w 10000"/>
                <a:gd name="connsiteY61" fmla="*/ 2978 h 10000"/>
                <a:gd name="connsiteX62" fmla="*/ 6171 w 10000"/>
                <a:gd name="connsiteY62" fmla="*/ 2409 h 10000"/>
                <a:gd name="connsiteX63" fmla="*/ 8092 w 10000"/>
                <a:gd name="connsiteY63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3363 w 10000"/>
                <a:gd name="connsiteY29" fmla="*/ 5953 h 10000"/>
                <a:gd name="connsiteX30" fmla="*/ 2927 w 10000"/>
                <a:gd name="connsiteY30" fmla="*/ 6019 h 10000"/>
                <a:gd name="connsiteX31" fmla="*/ 2620 w 10000"/>
                <a:gd name="connsiteY31" fmla="*/ 6570 h 10000"/>
                <a:gd name="connsiteX32" fmla="*/ 2176 w 10000"/>
                <a:gd name="connsiteY32" fmla="*/ 7898 h 10000"/>
                <a:gd name="connsiteX33" fmla="*/ 2223 w 10000"/>
                <a:gd name="connsiteY33" fmla="*/ 9121 h 10000"/>
                <a:gd name="connsiteX34" fmla="*/ 2670 w 10000"/>
                <a:gd name="connsiteY34" fmla="*/ 9645 h 10000"/>
                <a:gd name="connsiteX35" fmla="*/ 2554 w 10000"/>
                <a:gd name="connsiteY35" fmla="*/ 9895 h 10000"/>
                <a:gd name="connsiteX36" fmla="*/ 1847 w 10000"/>
                <a:gd name="connsiteY36" fmla="*/ 9895 h 10000"/>
                <a:gd name="connsiteX37" fmla="*/ 1610 w 10000"/>
                <a:gd name="connsiteY37" fmla="*/ 9506 h 10000"/>
                <a:gd name="connsiteX38" fmla="*/ 1287 w 10000"/>
                <a:gd name="connsiteY38" fmla="*/ 8419 h 10000"/>
                <a:gd name="connsiteX39" fmla="*/ 1270 w 10000"/>
                <a:gd name="connsiteY39" fmla="*/ 7489 h 10000"/>
                <a:gd name="connsiteX40" fmla="*/ 1237 w 10000"/>
                <a:gd name="connsiteY40" fmla="*/ 7465 h 10000"/>
                <a:gd name="connsiteX41" fmla="*/ 1146 w 10000"/>
                <a:gd name="connsiteY41" fmla="*/ 7612 h 10000"/>
                <a:gd name="connsiteX42" fmla="*/ 848 w 10000"/>
                <a:gd name="connsiteY42" fmla="*/ 8627 h 10000"/>
                <a:gd name="connsiteX43" fmla="*/ 955 w 10000"/>
                <a:gd name="connsiteY43" fmla="*/ 9341 h 10000"/>
                <a:gd name="connsiteX44" fmla="*/ 1317 w 10000"/>
                <a:gd name="connsiteY44" fmla="*/ 9765 h 10000"/>
                <a:gd name="connsiteX45" fmla="*/ 1088 w 10000"/>
                <a:gd name="connsiteY45" fmla="*/ 10000 h 10000"/>
                <a:gd name="connsiteX46" fmla="*/ 436 w 10000"/>
                <a:gd name="connsiteY46" fmla="*/ 10000 h 10000"/>
                <a:gd name="connsiteX47" fmla="*/ 177 w 10000"/>
                <a:gd name="connsiteY47" fmla="*/ 9356 h 10000"/>
                <a:gd name="connsiteX48" fmla="*/ 185 w 10000"/>
                <a:gd name="connsiteY48" fmla="*/ 7925 h 10000"/>
                <a:gd name="connsiteX49" fmla="*/ 326 w 10000"/>
                <a:gd name="connsiteY49" fmla="*/ 7395 h 10000"/>
                <a:gd name="connsiteX50" fmla="*/ 367 w 10000"/>
                <a:gd name="connsiteY50" fmla="*/ 6402 h 10000"/>
                <a:gd name="connsiteX51" fmla="*/ 110 w 10000"/>
                <a:gd name="connsiteY51" fmla="*/ 4899 h 10000"/>
                <a:gd name="connsiteX52" fmla="*/ 497 w 10000"/>
                <a:gd name="connsiteY52" fmla="*/ 3680 h 10000"/>
                <a:gd name="connsiteX53" fmla="*/ 497 w 10000"/>
                <a:gd name="connsiteY53" fmla="*/ 3659 h 10000"/>
                <a:gd name="connsiteX54" fmla="*/ 77 w 10000"/>
                <a:gd name="connsiteY54" fmla="*/ 2415 h 10000"/>
                <a:gd name="connsiteX55" fmla="*/ 0 w 10000"/>
                <a:gd name="connsiteY55" fmla="*/ 1587 h 10000"/>
                <a:gd name="connsiteX56" fmla="*/ 113 w 10000"/>
                <a:gd name="connsiteY56" fmla="*/ 1352 h 10000"/>
                <a:gd name="connsiteX57" fmla="*/ 456 w 10000"/>
                <a:gd name="connsiteY57" fmla="*/ 1503 h 10000"/>
                <a:gd name="connsiteX58" fmla="*/ 765 w 10000"/>
                <a:gd name="connsiteY58" fmla="*/ 2779 h 10000"/>
                <a:gd name="connsiteX59" fmla="*/ 1165 w 10000"/>
                <a:gd name="connsiteY59" fmla="*/ 3098 h 10000"/>
                <a:gd name="connsiteX60" fmla="*/ 2755 w 10000"/>
                <a:gd name="connsiteY60" fmla="*/ 3046 h 10000"/>
                <a:gd name="connsiteX61" fmla="*/ 4561 w 10000"/>
                <a:gd name="connsiteY61" fmla="*/ 3101 h 10000"/>
                <a:gd name="connsiteX62" fmla="*/ 5359 w 10000"/>
                <a:gd name="connsiteY62" fmla="*/ 2978 h 10000"/>
                <a:gd name="connsiteX63" fmla="*/ 6171 w 10000"/>
                <a:gd name="connsiteY63" fmla="*/ 2409 h 10000"/>
                <a:gd name="connsiteX64" fmla="*/ 8092 w 10000"/>
                <a:gd name="connsiteY64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3363 w 10000"/>
                <a:gd name="connsiteY29" fmla="*/ 5953 h 10000"/>
                <a:gd name="connsiteX30" fmla="*/ 2927 w 10000"/>
                <a:gd name="connsiteY30" fmla="*/ 6019 h 10000"/>
                <a:gd name="connsiteX31" fmla="*/ 2620 w 10000"/>
                <a:gd name="connsiteY31" fmla="*/ 6570 h 10000"/>
                <a:gd name="connsiteX32" fmla="*/ 2176 w 10000"/>
                <a:gd name="connsiteY32" fmla="*/ 7620 h 10000"/>
                <a:gd name="connsiteX33" fmla="*/ 2223 w 10000"/>
                <a:gd name="connsiteY33" fmla="*/ 9121 h 10000"/>
                <a:gd name="connsiteX34" fmla="*/ 2670 w 10000"/>
                <a:gd name="connsiteY34" fmla="*/ 9645 h 10000"/>
                <a:gd name="connsiteX35" fmla="*/ 2554 w 10000"/>
                <a:gd name="connsiteY35" fmla="*/ 9895 h 10000"/>
                <a:gd name="connsiteX36" fmla="*/ 1847 w 10000"/>
                <a:gd name="connsiteY36" fmla="*/ 9895 h 10000"/>
                <a:gd name="connsiteX37" fmla="*/ 1610 w 10000"/>
                <a:gd name="connsiteY37" fmla="*/ 9506 h 10000"/>
                <a:gd name="connsiteX38" fmla="*/ 1287 w 10000"/>
                <a:gd name="connsiteY38" fmla="*/ 8419 h 10000"/>
                <a:gd name="connsiteX39" fmla="*/ 1270 w 10000"/>
                <a:gd name="connsiteY39" fmla="*/ 7489 h 10000"/>
                <a:gd name="connsiteX40" fmla="*/ 1237 w 10000"/>
                <a:gd name="connsiteY40" fmla="*/ 7465 h 10000"/>
                <a:gd name="connsiteX41" fmla="*/ 1146 w 10000"/>
                <a:gd name="connsiteY41" fmla="*/ 7612 h 10000"/>
                <a:gd name="connsiteX42" fmla="*/ 848 w 10000"/>
                <a:gd name="connsiteY42" fmla="*/ 8627 h 10000"/>
                <a:gd name="connsiteX43" fmla="*/ 955 w 10000"/>
                <a:gd name="connsiteY43" fmla="*/ 9341 h 10000"/>
                <a:gd name="connsiteX44" fmla="*/ 1317 w 10000"/>
                <a:gd name="connsiteY44" fmla="*/ 9765 h 10000"/>
                <a:gd name="connsiteX45" fmla="*/ 1088 w 10000"/>
                <a:gd name="connsiteY45" fmla="*/ 10000 h 10000"/>
                <a:gd name="connsiteX46" fmla="*/ 436 w 10000"/>
                <a:gd name="connsiteY46" fmla="*/ 10000 h 10000"/>
                <a:gd name="connsiteX47" fmla="*/ 177 w 10000"/>
                <a:gd name="connsiteY47" fmla="*/ 9356 h 10000"/>
                <a:gd name="connsiteX48" fmla="*/ 185 w 10000"/>
                <a:gd name="connsiteY48" fmla="*/ 7925 h 10000"/>
                <a:gd name="connsiteX49" fmla="*/ 326 w 10000"/>
                <a:gd name="connsiteY49" fmla="*/ 7395 h 10000"/>
                <a:gd name="connsiteX50" fmla="*/ 367 w 10000"/>
                <a:gd name="connsiteY50" fmla="*/ 6402 h 10000"/>
                <a:gd name="connsiteX51" fmla="*/ 110 w 10000"/>
                <a:gd name="connsiteY51" fmla="*/ 4899 h 10000"/>
                <a:gd name="connsiteX52" fmla="*/ 497 w 10000"/>
                <a:gd name="connsiteY52" fmla="*/ 3680 h 10000"/>
                <a:gd name="connsiteX53" fmla="*/ 497 w 10000"/>
                <a:gd name="connsiteY53" fmla="*/ 3659 h 10000"/>
                <a:gd name="connsiteX54" fmla="*/ 77 w 10000"/>
                <a:gd name="connsiteY54" fmla="*/ 2415 h 10000"/>
                <a:gd name="connsiteX55" fmla="*/ 0 w 10000"/>
                <a:gd name="connsiteY55" fmla="*/ 1587 h 10000"/>
                <a:gd name="connsiteX56" fmla="*/ 113 w 10000"/>
                <a:gd name="connsiteY56" fmla="*/ 1352 h 10000"/>
                <a:gd name="connsiteX57" fmla="*/ 456 w 10000"/>
                <a:gd name="connsiteY57" fmla="*/ 1503 h 10000"/>
                <a:gd name="connsiteX58" fmla="*/ 765 w 10000"/>
                <a:gd name="connsiteY58" fmla="*/ 2779 h 10000"/>
                <a:gd name="connsiteX59" fmla="*/ 1165 w 10000"/>
                <a:gd name="connsiteY59" fmla="*/ 3098 h 10000"/>
                <a:gd name="connsiteX60" fmla="*/ 2755 w 10000"/>
                <a:gd name="connsiteY60" fmla="*/ 3046 h 10000"/>
                <a:gd name="connsiteX61" fmla="*/ 4561 w 10000"/>
                <a:gd name="connsiteY61" fmla="*/ 3101 h 10000"/>
                <a:gd name="connsiteX62" fmla="*/ 5359 w 10000"/>
                <a:gd name="connsiteY62" fmla="*/ 2978 h 10000"/>
                <a:gd name="connsiteX63" fmla="*/ 6171 w 10000"/>
                <a:gd name="connsiteY63" fmla="*/ 2409 h 10000"/>
                <a:gd name="connsiteX64" fmla="*/ 8092 w 10000"/>
                <a:gd name="connsiteY64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4619 w 10000"/>
                <a:gd name="connsiteY29" fmla="*/ 6265 h 10000"/>
                <a:gd name="connsiteX30" fmla="*/ 3363 w 10000"/>
                <a:gd name="connsiteY30" fmla="*/ 5953 h 10000"/>
                <a:gd name="connsiteX31" fmla="*/ 2927 w 10000"/>
                <a:gd name="connsiteY31" fmla="*/ 6019 h 10000"/>
                <a:gd name="connsiteX32" fmla="*/ 2620 w 10000"/>
                <a:gd name="connsiteY32" fmla="*/ 6570 h 10000"/>
                <a:gd name="connsiteX33" fmla="*/ 2176 w 10000"/>
                <a:gd name="connsiteY33" fmla="*/ 7620 h 10000"/>
                <a:gd name="connsiteX34" fmla="*/ 2223 w 10000"/>
                <a:gd name="connsiteY34" fmla="*/ 9121 h 10000"/>
                <a:gd name="connsiteX35" fmla="*/ 2670 w 10000"/>
                <a:gd name="connsiteY35" fmla="*/ 9645 h 10000"/>
                <a:gd name="connsiteX36" fmla="*/ 2554 w 10000"/>
                <a:gd name="connsiteY36" fmla="*/ 9895 h 10000"/>
                <a:gd name="connsiteX37" fmla="*/ 1847 w 10000"/>
                <a:gd name="connsiteY37" fmla="*/ 9895 h 10000"/>
                <a:gd name="connsiteX38" fmla="*/ 1610 w 10000"/>
                <a:gd name="connsiteY38" fmla="*/ 9506 h 10000"/>
                <a:gd name="connsiteX39" fmla="*/ 1287 w 10000"/>
                <a:gd name="connsiteY39" fmla="*/ 8419 h 10000"/>
                <a:gd name="connsiteX40" fmla="*/ 1270 w 10000"/>
                <a:gd name="connsiteY40" fmla="*/ 7489 h 10000"/>
                <a:gd name="connsiteX41" fmla="*/ 1237 w 10000"/>
                <a:gd name="connsiteY41" fmla="*/ 7465 h 10000"/>
                <a:gd name="connsiteX42" fmla="*/ 1146 w 10000"/>
                <a:gd name="connsiteY42" fmla="*/ 7612 h 10000"/>
                <a:gd name="connsiteX43" fmla="*/ 848 w 10000"/>
                <a:gd name="connsiteY43" fmla="*/ 8627 h 10000"/>
                <a:gd name="connsiteX44" fmla="*/ 955 w 10000"/>
                <a:gd name="connsiteY44" fmla="*/ 9341 h 10000"/>
                <a:gd name="connsiteX45" fmla="*/ 1317 w 10000"/>
                <a:gd name="connsiteY45" fmla="*/ 9765 h 10000"/>
                <a:gd name="connsiteX46" fmla="*/ 1088 w 10000"/>
                <a:gd name="connsiteY46" fmla="*/ 10000 h 10000"/>
                <a:gd name="connsiteX47" fmla="*/ 436 w 10000"/>
                <a:gd name="connsiteY47" fmla="*/ 10000 h 10000"/>
                <a:gd name="connsiteX48" fmla="*/ 177 w 10000"/>
                <a:gd name="connsiteY48" fmla="*/ 9356 h 10000"/>
                <a:gd name="connsiteX49" fmla="*/ 185 w 10000"/>
                <a:gd name="connsiteY49" fmla="*/ 7925 h 10000"/>
                <a:gd name="connsiteX50" fmla="*/ 326 w 10000"/>
                <a:gd name="connsiteY50" fmla="*/ 7395 h 10000"/>
                <a:gd name="connsiteX51" fmla="*/ 367 w 10000"/>
                <a:gd name="connsiteY51" fmla="*/ 6402 h 10000"/>
                <a:gd name="connsiteX52" fmla="*/ 110 w 10000"/>
                <a:gd name="connsiteY52" fmla="*/ 4899 h 10000"/>
                <a:gd name="connsiteX53" fmla="*/ 497 w 10000"/>
                <a:gd name="connsiteY53" fmla="*/ 3680 h 10000"/>
                <a:gd name="connsiteX54" fmla="*/ 497 w 10000"/>
                <a:gd name="connsiteY54" fmla="*/ 3659 h 10000"/>
                <a:gd name="connsiteX55" fmla="*/ 77 w 10000"/>
                <a:gd name="connsiteY55" fmla="*/ 2415 h 10000"/>
                <a:gd name="connsiteX56" fmla="*/ 0 w 10000"/>
                <a:gd name="connsiteY56" fmla="*/ 1587 h 10000"/>
                <a:gd name="connsiteX57" fmla="*/ 113 w 10000"/>
                <a:gd name="connsiteY57" fmla="*/ 1352 h 10000"/>
                <a:gd name="connsiteX58" fmla="*/ 456 w 10000"/>
                <a:gd name="connsiteY58" fmla="*/ 1503 h 10000"/>
                <a:gd name="connsiteX59" fmla="*/ 765 w 10000"/>
                <a:gd name="connsiteY59" fmla="*/ 2779 h 10000"/>
                <a:gd name="connsiteX60" fmla="*/ 1165 w 10000"/>
                <a:gd name="connsiteY60" fmla="*/ 3098 h 10000"/>
                <a:gd name="connsiteX61" fmla="*/ 2755 w 10000"/>
                <a:gd name="connsiteY61" fmla="*/ 3046 h 10000"/>
                <a:gd name="connsiteX62" fmla="*/ 4561 w 10000"/>
                <a:gd name="connsiteY62" fmla="*/ 3101 h 10000"/>
                <a:gd name="connsiteX63" fmla="*/ 5359 w 10000"/>
                <a:gd name="connsiteY63" fmla="*/ 2978 h 10000"/>
                <a:gd name="connsiteX64" fmla="*/ 6171 w 10000"/>
                <a:gd name="connsiteY64" fmla="*/ 2409 h 10000"/>
                <a:gd name="connsiteX65" fmla="*/ 8092 w 10000"/>
                <a:gd name="connsiteY65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4619 w 10000"/>
                <a:gd name="connsiteY29" fmla="*/ 6265 h 10000"/>
                <a:gd name="connsiteX30" fmla="*/ 3363 w 10000"/>
                <a:gd name="connsiteY30" fmla="*/ 5953 h 10000"/>
                <a:gd name="connsiteX31" fmla="*/ 2927 w 10000"/>
                <a:gd name="connsiteY31" fmla="*/ 6019 h 10000"/>
                <a:gd name="connsiteX32" fmla="*/ 2620 w 10000"/>
                <a:gd name="connsiteY32" fmla="*/ 6570 h 10000"/>
                <a:gd name="connsiteX33" fmla="*/ 2176 w 10000"/>
                <a:gd name="connsiteY33" fmla="*/ 7620 h 10000"/>
                <a:gd name="connsiteX34" fmla="*/ 2223 w 10000"/>
                <a:gd name="connsiteY34" fmla="*/ 9121 h 10000"/>
                <a:gd name="connsiteX35" fmla="*/ 2670 w 10000"/>
                <a:gd name="connsiteY35" fmla="*/ 9645 h 10000"/>
                <a:gd name="connsiteX36" fmla="*/ 2554 w 10000"/>
                <a:gd name="connsiteY36" fmla="*/ 9895 h 10000"/>
                <a:gd name="connsiteX37" fmla="*/ 1847 w 10000"/>
                <a:gd name="connsiteY37" fmla="*/ 9895 h 10000"/>
                <a:gd name="connsiteX38" fmla="*/ 1610 w 10000"/>
                <a:gd name="connsiteY38" fmla="*/ 9506 h 10000"/>
                <a:gd name="connsiteX39" fmla="*/ 1287 w 10000"/>
                <a:gd name="connsiteY39" fmla="*/ 8419 h 10000"/>
                <a:gd name="connsiteX40" fmla="*/ 1270 w 10000"/>
                <a:gd name="connsiteY40" fmla="*/ 7489 h 10000"/>
                <a:gd name="connsiteX41" fmla="*/ 1237 w 10000"/>
                <a:gd name="connsiteY41" fmla="*/ 7465 h 10000"/>
                <a:gd name="connsiteX42" fmla="*/ 1146 w 10000"/>
                <a:gd name="connsiteY42" fmla="*/ 7612 h 10000"/>
                <a:gd name="connsiteX43" fmla="*/ 848 w 10000"/>
                <a:gd name="connsiteY43" fmla="*/ 8627 h 10000"/>
                <a:gd name="connsiteX44" fmla="*/ 955 w 10000"/>
                <a:gd name="connsiteY44" fmla="*/ 9341 h 10000"/>
                <a:gd name="connsiteX45" fmla="*/ 1317 w 10000"/>
                <a:gd name="connsiteY45" fmla="*/ 9765 h 10000"/>
                <a:gd name="connsiteX46" fmla="*/ 1088 w 10000"/>
                <a:gd name="connsiteY46" fmla="*/ 10000 h 10000"/>
                <a:gd name="connsiteX47" fmla="*/ 436 w 10000"/>
                <a:gd name="connsiteY47" fmla="*/ 10000 h 10000"/>
                <a:gd name="connsiteX48" fmla="*/ 177 w 10000"/>
                <a:gd name="connsiteY48" fmla="*/ 9356 h 10000"/>
                <a:gd name="connsiteX49" fmla="*/ 185 w 10000"/>
                <a:gd name="connsiteY49" fmla="*/ 7925 h 10000"/>
                <a:gd name="connsiteX50" fmla="*/ 326 w 10000"/>
                <a:gd name="connsiteY50" fmla="*/ 7395 h 10000"/>
                <a:gd name="connsiteX51" fmla="*/ 332 w 10000"/>
                <a:gd name="connsiteY51" fmla="*/ 6164 h 10000"/>
                <a:gd name="connsiteX52" fmla="*/ 110 w 10000"/>
                <a:gd name="connsiteY52" fmla="*/ 4899 h 10000"/>
                <a:gd name="connsiteX53" fmla="*/ 497 w 10000"/>
                <a:gd name="connsiteY53" fmla="*/ 3680 h 10000"/>
                <a:gd name="connsiteX54" fmla="*/ 497 w 10000"/>
                <a:gd name="connsiteY54" fmla="*/ 3659 h 10000"/>
                <a:gd name="connsiteX55" fmla="*/ 77 w 10000"/>
                <a:gd name="connsiteY55" fmla="*/ 2415 h 10000"/>
                <a:gd name="connsiteX56" fmla="*/ 0 w 10000"/>
                <a:gd name="connsiteY56" fmla="*/ 1587 h 10000"/>
                <a:gd name="connsiteX57" fmla="*/ 113 w 10000"/>
                <a:gd name="connsiteY57" fmla="*/ 1352 h 10000"/>
                <a:gd name="connsiteX58" fmla="*/ 456 w 10000"/>
                <a:gd name="connsiteY58" fmla="*/ 1503 h 10000"/>
                <a:gd name="connsiteX59" fmla="*/ 765 w 10000"/>
                <a:gd name="connsiteY59" fmla="*/ 2779 h 10000"/>
                <a:gd name="connsiteX60" fmla="*/ 1165 w 10000"/>
                <a:gd name="connsiteY60" fmla="*/ 3098 h 10000"/>
                <a:gd name="connsiteX61" fmla="*/ 2755 w 10000"/>
                <a:gd name="connsiteY61" fmla="*/ 3046 h 10000"/>
                <a:gd name="connsiteX62" fmla="*/ 4561 w 10000"/>
                <a:gd name="connsiteY62" fmla="*/ 3101 h 10000"/>
                <a:gd name="connsiteX63" fmla="*/ 5359 w 10000"/>
                <a:gd name="connsiteY63" fmla="*/ 2978 h 10000"/>
                <a:gd name="connsiteX64" fmla="*/ 6171 w 10000"/>
                <a:gd name="connsiteY64" fmla="*/ 2409 h 10000"/>
                <a:gd name="connsiteX65" fmla="*/ 8092 w 10000"/>
                <a:gd name="connsiteY65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4619 w 10000"/>
                <a:gd name="connsiteY29" fmla="*/ 6265 h 10000"/>
                <a:gd name="connsiteX30" fmla="*/ 3363 w 10000"/>
                <a:gd name="connsiteY30" fmla="*/ 5953 h 10000"/>
                <a:gd name="connsiteX31" fmla="*/ 2927 w 10000"/>
                <a:gd name="connsiteY31" fmla="*/ 6019 h 10000"/>
                <a:gd name="connsiteX32" fmla="*/ 2620 w 10000"/>
                <a:gd name="connsiteY32" fmla="*/ 6570 h 10000"/>
                <a:gd name="connsiteX33" fmla="*/ 2176 w 10000"/>
                <a:gd name="connsiteY33" fmla="*/ 7620 h 10000"/>
                <a:gd name="connsiteX34" fmla="*/ 2223 w 10000"/>
                <a:gd name="connsiteY34" fmla="*/ 9121 h 10000"/>
                <a:gd name="connsiteX35" fmla="*/ 2670 w 10000"/>
                <a:gd name="connsiteY35" fmla="*/ 9645 h 10000"/>
                <a:gd name="connsiteX36" fmla="*/ 2554 w 10000"/>
                <a:gd name="connsiteY36" fmla="*/ 9895 h 10000"/>
                <a:gd name="connsiteX37" fmla="*/ 1847 w 10000"/>
                <a:gd name="connsiteY37" fmla="*/ 9895 h 10000"/>
                <a:gd name="connsiteX38" fmla="*/ 1610 w 10000"/>
                <a:gd name="connsiteY38" fmla="*/ 9506 h 10000"/>
                <a:gd name="connsiteX39" fmla="*/ 1287 w 10000"/>
                <a:gd name="connsiteY39" fmla="*/ 8419 h 10000"/>
                <a:gd name="connsiteX40" fmla="*/ 1270 w 10000"/>
                <a:gd name="connsiteY40" fmla="*/ 7489 h 10000"/>
                <a:gd name="connsiteX41" fmla="*/ 1237 w 10000"/>
                <a:gd name="connsiteY41" fmla="*/ 7465 h 10000"/>
                <a:gd name="connsiteX42" fmla="*/ 1146 w 10000"/>
                <a:gd name="connsiteY42" fmla="*/ 7612 h 10000"/>
                <a:gd name="connsiteX43" fmla="*/ 848 w 10000"/>
                <a:gd name="connsiteY43" fmla="*/ 8627 h 10000"/>
                <a:gd name="connsiteX44" fmla="*/ 955 w 10000"/>
                <a:gd name="connsiteY44" fmla="*/ 9341 h 10000"/>
                <a:gd name="connsiteX45" fmla="*/ 1317 w 10000"/>
                <a:gd name="connsiteY45" fmla="*/ 9765 h 10000"/>
                <a:gd name="connsiteX46" fmla="*/ 1088 w 10000"/>
                <a:gd name="connsiteY46" fmla="*/ 10000 h 10000"/>
                <a:gd name="connsiteX47" fmla="*/ 436 w 10000"/>
                <a:gd name="connsiteY47" fmla="*/ 10000 h 10000"/>
                <a:gd name="connsiteX48" fmla="*/ 177 w 10000"/>
                <a:gd name="connsiteY48" fmla="*/ 9356 h 10000"/>
                <a:gd name="connsiteX49" fmla="*/ 185 w 10000"/>
                <a:gd name="connsiteY49" fmla="*/ 7925 h 10000"/>
                <a:gd name="connsiteX50" fmla="*/ 326 w 10000"/>
                <a:gd name="connsiteY50" fmla="*/ 7395 h 10000"/>
                <a:gd name="connsiteX51" fmla="*/ 332 w 10000"/>
                <a:gd name="connsiteY51" fmla="*/ 6164 h 10000"/>
                <a:gd name="connsiteX52" fmla="*/ 110 w 10000"/>
                <a:gd name="connsiteY52" fmla="*/ 4899 h 10000"/>
                <a:gd name="connsiteX53" fmla="*/ 497 w 10000"/>
                <a:gd name="connsiteY53" fmla="*/ 3680 h 10000"/>
                <a:gd name="connsiteX54" fmla="*/ 497 w 10000"/>
                <a:gd name="connsiteY54" fmla="*/ 3659 h 10000"/>
                <a:gd name="connsiteX55" fmla="*/ 77 w 10000"/>
                <a:gd name="connsiteY55" fmla="*/ 2415 h 10000"/>
                <a:gd name="connsiteX56" fmla="*/ 0 w 10000"/>
                <a:gd name="connsiteY56" fmla="*/ 1587 h 10000"/>
                <a:gd name="connsiteX57" fmla="*/ 113 w 10000"/>
                <a:gd name="connsiteY57" fmla="*/ 1352 h 10000"/>
                <a:gd name="connsiteX58" fmla="*/ 456 w 10000"/>
                <a:gd name="connsiteY58" fmla="*/ 1503 h 10000"/>
                <a:gd name="connsiteX59" fmla="*/ 293 w 10000"/>
                <a:gd name="connsiteY59" fmla="*/ 1456 h 10000"/>
                <a:gd name="connsiteX60" fmla="*/ 765 w 10000"/>
                <a:gd name="connsiteY60" fmla="*/ 2779 h 10000"/>
                <a:gd name="connsiteX61" fmla="*/ 1165 w 10000"/>
                <a:gd name="connsiteY61" fmla="*/ 3098 h 10000"/>
                <a:gd name="connsiteX62" fmla="*/ 2755 w 10000"/>
                <a:gd name="connsiteY62" fmla="*/ 3046 h 10000"/>
                <a:gd name="connsiteX63" fmla="*/ 4561 w 10000"/>
                <a:gd name="connsiteY63" fmla="*/ 3101 h 10000"/>
                <a:gd name="connsiteX64" fmla="*/ 5359 w 10000"/>
                <a:gd name="connsiteY64" fmla="*/ 2978 h 10000"/>
                <a:gd name="connsiteX65" fmla="*/ 6171 w 10000"/>
                <a:gd name="connsiteY65" fmla="*/ 2409 h 10000"/>
                <a:gd name="connsiteX66" fmla="*/ 8092 w 10000"/>
                <a:gd name="connsiteY66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597 w 10000"/>
                <a:gd name="connsiteY3" fmla="*/ 1195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4619 w 10000"/>
                <a:gd name="connsiteY29" fmla="*/ 6265 h 10000"/>
                <a:gd name="connsiteX30" fmla="*/ 3363 w 10000"/>
                <a:gd name="connsiteY30" fmla="*/ 5953 h 10000"/>
                <a:gd name="connsiteX31" fmla="*/ 2927 w 10000"/>
                <a:gd name="connsiteY31" fmla="*/ 6019 h 10000"/>
                <a:gd name="connsiteX32" fmla="*/ 2620 w 10000"/>
                <a:gd name="connsiteY32" fmla="*/ 6570 h 10000"/>
                <a:gd name="connsiteX33" fmla="*/ 2176 w 10000"/>
                <a:gd name="connsiteY33" fmla="*/ 7620 h 10000"/>
                <a:gd name="connsiteX34" fmla="*/ 2223 w 10000"/>
                <a:gd name="connsiteY34" fmla="*/ 9121 h 10000"/>
                <a:gd name="connsiteX35" fmla="*/ 2670 w 10000"/>
                <a:gd name="connsiteY35" fmla="*/ 9645 h 10000"/>
                <a:gd name="connsiteX36" fmla="*/ 2554 w 10000"/>
                <a:gd name="connsiteY36" fmla="*/ 9895 h 10000"/>
                <a:gd name="connsiteX37" fmla="*/ 1847 w 10000"/>
                <a:gd name="connsiteY37" fmla="*/ 9895 h 10000"/>
                <a:gd name="connsiteX38" fmla="*/ 1610 w 10000"/>
                <a:gd name="connsiteY38" fmla="*/ 9506 h 10000"/>
                <a:gd name="connsiteX39" fmla="*/ 1287 w 10000"/>
                <a:gd name="connsiteY39" fmla="*/ 8419 h 10000"/>
                <a:gd name="connsiteX40" fmla="*/ 1270 w 10000"/>
                <a:gd name="connsiteY40" fmla="*/ 7489 h 10000"/>
                <a:gd name="connsiteX41" fmla="*/ 1237 w 10000"/>
                <a:gd name="connsiteY41" fmla="*/ 7465 h 10000"/>
                <a:gd name="connsiteX42" fmla="*/ 1146 w 10000"/>
                <a:gd name="connsiteY42" fmla="*/ 7612 h 10000"/>
                <a:gd name="connsiteX43" fmla="*/ 848 w 10000"/>
                <a:gd name="connsiteY43" fmla="*/ 8627 h 10000"/>
                <a:gd name="connsiteX44" fmla="*/ 955 w 10000"/>
                <a:gd name="connsiteY44" fmla="*/ 9341 h 10000"/>
                <a:gd name="connsiteX45" fmla="*/ 1317 w 10000"/>
                <a:gd name="connsiteY45" fmla="*/ 9765 h 10000"/>
                <a:gd name="connsiteX46" fmla="*/ 1088 w 10000"/>
                <a:gd name="connsiteY46" fmla="*/ 10000 h 10000"/>
                <a:gd name="connsiteX47" fmla="*/ 436 w 10000"/>
                <a:gd name="connsiteY47" fmla="*/ 10000 h 10000"/>
                <a:gd name="connsiteX48" fmla="*/ 177 w 10000"/>
                <a:gd name="connsiteY48" fmla="*/ 9356 h 10000"/>
                <a:gd name="connsiteX49" fmla="*/ 185 w 10000"/>
                <a:gd name="connsiteY49" fmla="*/ 7925 h 10000"/>
                <a:gd name="connsiteX50" fmla="*/ 326 w 10000"/>
                <a:gd name="connsiteY50" fmla="*/ 7395 h 10000"/>
                <a:gd name="connsiteX51" fmla="*/ 332 w 10000"/>
                <a:gd name="connsiteY51" fmla="*/ 6164 h 10000"/>
                <a:gd name="connsiteX52" fmla="*/ 110 w 10000"/>
                <a:gd name="connsiteY52" fmla="*/ 4899 h 10000"/>
                <a:gd name="connsiteX53" fmla="*/ 497 w 10000"/>
                <a:gd name="connsiteY53" fmla="*/ 3680 h 10000"/>
                <a:gd name="connsiteX54" fmla="*/ 497 w 10000"/>
                <a:gd name="connsiteY54" fmla="*/ 3659 h 10000"/>
                <a:gd name="connsiteX55" fmla="*/ 77 w 10000"/>
                <a:gd name="connsiteY55" fmla="*/ 2415 h 10000"/>
                <a:gd name="connsiteX56" fmla="*/ 0 w 10000"/>
                <a:gd name="connsiteY56" fmla="*/ 1587 h 10000"/>
                <a:gd name="connsiteX57" fmla="*/ 113 w 10000"/>
                <a:gd name="connsiteY57" fmla="*/ 1352 h 10000"/>
                <a:gd name="connsiteX58" fmla="*/ 456 w 10000"/>
                <a:gd name="connsiteY58" fmla="*/ 1503 h 10000"/>
                <a:gd name="connsiteX59" fmla="*/ 328 w 10000"/>
                <a:gd name="connsiteY59" fmla="*/ 1416 h 10000"/>
                <a:gd name="connsiteX60" fmla="*/ 765 w 10000"/>
                <a:gd name="connsiteY60" fmla="*/ 2779 h 10000"/>
                <a:gd name="connsiteX61" fmla="*/ 1165 w 10000"/>
                <a:gd name="connsiteY61" fmla="*/ 3098 h 10000"/>
                <a:gd name="connsiteX62" fmla="*/ 2755 w 10000"/>
                <a:gd name="connsiteY62" fmla="*/ 3046 h 10000"/>
                <a:gd name="connsiteX63" fmla="*/ 4561 w 10000"/>
                <a:gd name="connsiteY63" fmla="*/ 3101 h 10000"/>
                <a:gd name="connsiteX64" fmla="*/ 5359 w 10000"/>
                <a:gd name="connsiteY64" fmla="*/ 2978 h 10000"/>
                <a:gd name="connsiteX65" fmla="*/ 6171 w 10000"/>
                <a:gd name="connsiteY65" fmla="*/ 2409 h 10000"/>
                <a:gd name="connsiteX66" fmla="*/ 8092 w 10000"/>
                <a:gd name="connsiteY66" fmla="*/ 0 h 10000"/>
                <a:gd name="connsiteX0" fmla="*/ 8092 w 10000"/>
                <a:gd name="connsiteY0" fmla="*/ 0 h 10000"/>
                <a:gd name="connsiteX1" fmla="*/ 8092 w 10000"/>
                <a:gd name="connsiteY1" fmla="*/ 0 h 10000"/>
                <a:gd name="connsiteX2" fmla="*/ 8308 w 10000"/>
                <a:gd name="connsiteY2" fmla="*/ 66 h 10000"/>
                <a:gd name="connsiteX3" fmla="*/ 8175 w 10000"/>
                <a:gd name="connsiteY3" fmla="*/ 930 h 10000"/>
                <a:gd name="connsiteX4" fmla="*/ 9188 w 10000"/>
                <a:gd name="connsiteY4" fmla="*/ 1840 h 10000"/>
                <a:gd name="connsiteX5" fmla="*/ 9909 w 10000"/>
                <a:gd name="connsiteY5" fmla="*/ 2304 h 10000"/>
                <a:gd name="connsiteX6" fmla="*/ 10000 w 10000"/>
                <a:gd name="connsiteY6" fmla="*/ 3050 h 10000"/>
                <a:gd name="connsiteX7" fmla="*/ 9199 w 10000"/>
                <a:gd name="connsiteY7" fmla="*/ 3433 h 10000"/>
                <a:gd name="connsiteX8" fmla="*/ 8534 w 10000"/>
                <a:gd name="connsiteY8" fmla="*/ 3207 h 10000"/>
                <a:gd name="connsiteX9" fmla="*/ 8258 w 10000"/>
                <a:gd name="connsiteY9" fmla="*/ 3216 h 10000"/>
                <a:gd name="connsiteX10" fmla="*/ 7896 w 10000"/>
                <a:gd name="connsiteY10" fmla="*/ 3481 h 10000"/>
                <a:gd name="connsiteX11" fmla="*/ 7819 w 10000"/>
                <a:gd name="connsiteY11" fmla="*/ 4437 h 10000"/>
                <a:gd name="connsiteX12" fmla="*/ 7714 w 10000"/>
                <a:gd name="connsiteY12" fmla="*/ 5271 h 10000"/>
                <a:gd name="connsiteX13" fmla="*/ 7679 w 10000"/>
                <a:gd name="connsiteY13" fmla="*/ 7695 h 10000"/>
                <a:gd name="connsiteX14" fmla="*/ 7581 w 10000"/>
                <a:gd name="connsiteY14" fmla="*/ 9067 h 10000"/>
                <a:gd name="connsiteX15" fmla="*/ 7744 w 10000"/>
                <a:gd name="connsiteY15" fmla="*/ 9410 h 10000"/>
                <a:gd name="connsiteX16" fmla="*/ 8065 w 10000"/>
                <a:gd name="connsiteY16" fmla="*/ 9687 h 10000"/>
                <a:gd name="connsiteX17" fmla="*/ 7885 w 10000"/>
                <a:gd name="connsiteY17" fmla="*/ 10000 h 10000"/>
                <a:gd name="connsiteX18" fmla="*/ 7399 w 10000"/>
                <a:gd name="connsiteY18" fmla="*/ 10000 h 10000"/>
                <a:gd name="connsiteX19" fmla="*/ 6927 w 10000"/>
                <a:gd name="connsiteY19" fmla="*/ 9473 h 10000"/>
                <a:gd name="connsiteX20" fmla="*/ 6767 w 10000"/>
                <a:gd name="connsiteY20" fmla="*/ 6977 h 10000"/>
                <a:gd name="connsiteX21" fmla="*/ 6375 w 10000"/>
                <a:gd name="connsiteY21" fmla="*/ 9118 h 10000"/>
                <a:gd name="connsiteX22" fmla="*/ 6737 w 10000"/>
                <a:gd name="connsiteY22" fmla="*/ 9319 h 10000"/>
                <a:gd name="connsiteX23" fmla="*/ 6800 w 10000"/>
                <a:gd name="connsiteY23" fmla="*/ 9660 h 10000"/>
                <a:gd name="connsiteX24" fmla="*/ 6507 w 10000"/>
                <a:gd name="connsiteY24" fmla="*/ 9898 h 10000"/>
                <a:gd name="connsiteX25" fmla="*/ 5969 w 10000"/>
                <a:gd name="connsiteY25" fmla="*/ 9898 h 10000"/>
                <a:gd name="connsiteX26" fmla="*/ 5649 w 10000"/>
                <a:gd name="connsiteY26" fmla="*/ 9313 h 10000"/>
                <a:gd name="connsiteX27" fmla="*/ 5881 w 10000"/>
                <a:gd name="connsiteY27" fmla="*/ 6856 h 10000"/>
                <a:gd name="connsiteX28" fmla="*/ 5779 w 10000"/>
                <a:gd name="connsiteY28" fmla="*/ 6447 h 10000"/>
                <a:gd name="connsiteX29" fmla="*/ 4619 w 10000"/>
                <a:gd name="connsiteY29" fmla="*/ 6265 h 10000"/>
                <a:gd name="connsiteX30" fmla="*/ 3363 w 10000"/>
                <a:gd name="connsiteY30" fmla="*/ 5953 h 10000"/>
                <a:gd name="connsiteX31" fmla="*/ 2927 w 10000"/>
                <a:gd name="connsiteY31" fmla="*/ 6019 h 10000"/>
                <a:gd name="connsiteX32" fmla="*/ 2620 w 10000"/>
                <a:gd name="connsiteY32" fmla="*/ 6570 h 10000"/>
                <a:gd name="connsiteX33" fmla="*/ 2176 w 10000"/>
                <a:gd name="connsiteY33" fmla="*/ 7620 h 10000"/>
                <a:gd name="connsiteX34" fmla="*/ 2223 w 10000"/>
                <a:gd name="connsiteY34" fmla="*/ 9121 h 10000"/>
                <a:gd name="connsiteX35" fmla="*/ 2670 w 10000"/>
                <a:gd name="connsiteY35" fmla="*/ 9645 h 10000"/>
                <a:gd name="connsiteX36" fmla="*/ 2554 w 10000"/>
                <a:gd name="connsiteY36" fmla="*/ 9895 h 10000"/>
                <a:gd name="connsiteX37" fmla="*/ 1847 w 10000"/>
                <a:gd name="connsiteY37" fmla="*/ 9895 h 10000"/>
                <a:gd name="connsiteX38" fmla="*/ 1610 w 10000"/>
                <a:gd name="connsiteY38" fmla="*/ 9506 h 10000"/>
                <a:gd name="connsiteX39" fmla="*/ 1287 w 10000"/>
                <a:gd name="connsiteY39" fmla="*/ 8419 h 10000"/>
                <a:gd name="connsiteX40" fmla="*/ 1270 w 10000"/>
                <a:gd name="connsiteY40" fmla="*/ 7489 h 10000"/>
                <a:gd name="connsiteX41" fmla="*/ 1237 w 10000"/>
                <a:gd name="connsiteY41" fmla="*/ 7465 h 10000"/>
                <a:gd name="connsiteX42" fmla="*/ 1146 w 10000"/>
                <a:gd name="connsiteY42" fmla="*/ 7612 h 10000"/>
                <a:gd name="connsiteX43" fmla="*/ 848 w 10000"/>
                <a:gd name="connsiteY43" fmla="*/ 8627 h 10000"/>
                <a:gd name="connsiteX44" fmla="*/ 955 w 10000"/>
                <a:gd name="connsiteY44" fmla="*/ 9341 h 10000"/>
                <a:gd name="connsiteX45" fmla="*/ 1317 w 10000"/>
                <a:gd name="connsiteY45" fmla="*/ 9765 h 10000"/>
                <a:gd name="connsiteX46" fmla="*/ 1088 w 10000"/>
                <a:gd name="connsiteY46" fmla="*/ 10000 h 10000"/>
                <a:gd name="connsiteX47" fmla="*/ 436 w 10000"/>
                <a:gd name="connsiteY47" fmla="*/ 10000 h 10000"/>
                <a:gd name="connsiteX48" fmla="*/ 177 w 10000"/>
                <a:gd name="connsiteY48" fmla="*/ 9356 h 10000"/>
                <a:gd name="connsiteX49" fmla="*/ 185 w 10000"/>
                <a:gd name="connsiteY49" fmla="*/ 7925 h 10000"/>
                <a:gd name="connsiteX50" fmla="*/ 326 w 10000"/>
                <a:gd name="connsiteY50" fmla="*/ 7395 h 10000"/>
                <a:gd name="connsiteX51" fmla="*/ 332 w 10000"/>
                <a:gd name="connsiteY51" fmla="*/ 6164 h 10000"/>
                <a:gd name="connsiteX52" fmla="*/ 110 w 10000"/>
                <a:gd name="connsiteY52" fmla="*/ 4899 h 10000"/>
                <a:gd name="connsiteX53" fmla="*/ 497 w 10000"/>
                <a:gd name="connsiteY53" fmla="*/ 3680 h 10000"/>
                <a:gd name="connsiteX54" fmla="*/ 497 w 10000"/>
                <a:gd name="connsiteY54" fmla="*/ 3659 h 10000"/>
                <a:gd name="connsiteX55" fmla="*/ 77 w 10000"/>
                <a:gd name="connsiteY55" fmla="*/ 2415 h 10000"/>
                <a:gd name="connsiteX56" fmla="*/ 0 w 10000"/>
                <a:gd name="connsiteY56" fmla="*/ 1587 h 10000"/>
                <a:gd name="connsiteX57" fmla="*/ 113 w 10000"/>
                <a:gd name="connsiteY57" fmla="*/ 1352 h 10000"/>
                <a:gd name="connsiteX58" fmla="*/ 456 w 10000"/>
                <a:gd name="connsiteY58" fmla="*/ 1503 h 10000"/>
                <a:gd name="connsiteX59" fmla="*/ 328 w 10000"/>
                <a:gd name="connsiteY59" fmla="*/ 1416 h 10000"/>
                <a:gd name="connsiteX60" fmla="*/ 765 w 10000"/>
                <a:gd name="connsiteY60" fmla="*/ 2779 h 10000"/>
                <a:gd name="connsiteX61" fmla="*/ 1165 w 10000"/>
                <a:gd name="connsiteY61" fmla="*/ 3098 h 10000"/>
                <a:gd name="connsiteX62" fmla="*/ 2755 w 10000"/>
                <a:gd name="connsiteY62" fmla="*/ 3046 h 10000"/>
                <a:gd name="connsiteX63" fmla="*/ 4561 w 10000"/>
                <a:gd name="connsiteY63" fmla="*/ 3101 h 10000"/>
                <a:gd name="connsiteX64" fmla="*/ 5359 w 10000"/>
                <a:gd name="connsiteY64" fmla="*/ 2978 h 10000"/>
                <a:gd name="connsiteX65" fmla="*/ 6171 w 10000"/>
                <a:gd name="connsiteY65" fmla="*/ 2409 h 10000"/>
                <a:gd name="connsiteX66" fmla="*/ 8092 w 10000"/>
                <a:gd name="connsiteY6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00">
                  <a:moveTo>
                    <a:pt x="8092" y="0"/>
                  </a:moveTo>
                  <a:lnTo>
                    <a:pt x="8092" y="0"/>
                  </a:lnTo>
                  <a:lnTo>
                    <a:pt x="8308" y="66"/>
                  </a:lnTo>
                  <a:cubicBezTo>
                    <a:pt x="8404" y="442"/>
                    <a:pt x="8079" y="554"/>
                    <a:pt x="8175" y="930"/>
                  </a:cubicBezTo>
                  <a:lnTo>
                    <a:pt x="9188" y="1840"/>
                  </a:lnTo>
                  <a:lnTo>
                    <a:pt x="9909" y="2304"/>
                  </a:lnTo>
                  <a:cubicBezTo>
                    <a:pt x="9939" y="2553"/>
                    <a:pt x="9970" y="2801"/>
                    <a:pt x="10000" y="3050"/>
                  </a:cubicBezTo>
                  <a:lnTo>
                    <a:pt x="9199" y="3433"/>
                  </a:lnTo>
                  <a:lnTo>
                    <a:pt x="8534" y="3207"/>
                  </a:lnTo>
                  <a:lnTo>
                    <a:pt x="8258" y="3216"/>
                  </a:lnTo>
                  <a:lnTo>
                    <a:pt x="7896" y="3481"/>
                  </a:lnTo>
                  <a:cubicBezTo>
                    <a:pt x="7823" y="3684"/>
                    <a:pt x="7849" y="4139"/>
                    <a:pt x="7819" y="4437"/>
                  </a:cubicBezTo>
                  <a:cubicBezTo>
                    <a:pt x="7789" y="4735"/>
                    <a:pt x="7737" y="4728"/>
                    <a:pt x="7714" y="5271"/>
                  </a:cubicBezTo>
                  <a:cubicBezTo>
                    <a:pt x="7678" y="5973"/>
                    <a:pt x="7701" y="7062"/>
                    <a:pt x="7679" y="7695"/>
                  </a:cubicBezTo>
                  <a:cubicBezTo>
                    <a:pt x="7657" y="8328"/>
                    <a:pt x="7570" y="8781"/>
                    <a:pt x="7581" y="9067"/>
                  </a:cubicBezTo>
                  <a:lnTo>
                    <a:pt x="7744" y="9410"/>
                  </a:lnTo>
                  <a:lnTo>
                    <a:pt x="8065" y="9687"/>
                  </a:lnTo>
                  <a:lnTo>
                    <a:pt x="7885" y="10000"/>
                  </a:lnTo>
                  <a:lnTo>
                    <a:pt x="7399" y="10000"/>
                  </a:lnTo>
                  <a:lnTo>
                    <a:pt x="6927" y="9473"/>
                  </a:lnTo>
                  <a:cubicBezTo>
                    <a:pt x="6874" y="8641"/>
                    <a:pt x="6820" y="7809"/>
                    <a:pt x="6767" y="6977"/>
                  </a:cubicBezTo>
                  <a:cubicBezTo>
                    <a:pt x="6636" y="7691"/>
                    <a:pt x="6506" y="8404"/>
                    <a:pt x="6375" y="9118"/>
                  </a:cubicBezTo>
                  <a:lnTo>
                    <a:pt x="6737" y="9319"/>
                  </a:lnTo>
                  <a:cubicBezTo>
                    <a:pt x="6758" y="9433"/>
                    <a:pt x="6779" y="9546"/>
                    <a:pt x="6800" y="9660"/>
                  </a:cubicBezTo>
                  <a:lnTo>
                    <a:pt x="6507" y="9898"/>
                  </a:lnTo>
                  <a:lnTo>
                    <a:pt x="5969" y="9898"/>
                  </a:lnTo>
                  <a:lnTo>
                    <a:pt x="5649" y="9313"/>
                  </a:lnTo>
                  <a:cubicBezTo>
                    <a:pt x="5726" y="8494"/>
                    <a:pt x="5804" y="7675"/>
                    <a:pt x="5881" y="6856"/>
                  </a:cubicBezTo>
                  <a:lnTo>
                    <a:pt x="5779" y="6447"/>
                  </a:lnTo>
                  <a:lnTo>
                    <a:pt x="4619" y="6265"/>
                  </a:lnTo>
                  <a:lnTo>
                    <a:pt x="3363" y="5953"/>
                  </a:lnTo>
                  <a:lnTo>
                    <a:pt x="2927" y="6019"/>
                  </a:lnTo>
                  <a:lnTo>
                    <a:pt x="2620" y="6570"/>
                  </a:lnTo>
                  <a:lnTo>
                    <a:pt x="2176" y="7620"/>
                  </a:lnTo>
                  <a:cubicBezTo>
                    <a:pt x="2192" y="8028"/>
                    <a:pt x="2207" y="8713"/>
                    <a:pt x="2223" y="9121"/>
                  </a:cubicBezTo>
                  <a:lnTo>
                    <a:pt x="2670" y="9645"/>
                  </a:lnTo>
                  <a:cubicBezTo>
                    <a:pt x="2631" y="9728"/>
                    <a:pt x="2593" y="9812"/>
                    <a:pt x="2554" y="9895"/>
                  </a:cubicBezTo>
                  <a:lnTo>
                    <a:pt x="1847" y="9895"/>
                  </a:lnTo>
                  <a:lnTo>
                    <a:pt x="1610" y="9506"/>
                  </a:lnTo>
                  <a:cubicBezTo>
                    <a:pt x="1502" y="9144"/>
                    <a:pt x="1395" y="8781"/>
                    <a:pt x="1287" y="8419"/>
                  </a:cubicBezTo>
                  <a:cubicBezTo>
                    <a:pt x="1281" y="8109"/>
                    <a:pt x="1276" y="7799"/>
                    <a:pt x="1270" y="7489"/>
                  </a:cubicBezTo>
                  <a:lnTo>
                    <a:pt x="1237" y="7465"/>
                  </a:lnTo>
                  <a:cubicBezTo>
                    <a:pt x="1207" y="7514"/>
                    <a:pt x="1176" y="7563"/>
                    <a:pt x="1146" y="7612"/>
                  </a:cubicBezTo>
                  <a:lnTo>
                    <a:pt x="848" y="8627"/>
                  </a:lnTo>
                  <a:cubicBezTo>
                    <a:pt x="884" y="8865"/>
                    <a:pt x="919" y="9103"/>
                    <a:pt x="955" y="9341"/>
                  </a:cubicBezTo>
                  <a:lnTo>
                    <a:pt x="1317" y="9765"/>
                  </a:lnTo>
                  <a:lnTo>
                    <a:pt x="1088" y="10000"/>
                  </a:lnTo>
                  <a:lnTo>
                    <a:pt x="436" y="10000"/>
                  </a:lnTo>
                  <a:cubicBezTo>
                    <a:pt x="350" y="9785"/>
                    <a:pt x="263" y="9571"/>
                    <a:pt x="177" y="9356"/>
                  </a:cubicBezTo>
                  <a:cubicBezTo>
                    <a:pt x="180" y="8879"/>
                    <a:pt x="182" y="8402"/>
                    <a:pt x="185" y="7925"/>
                  </a:cubicBezTo>
                  <a:lnTo>
                    <a:pt x="326" y="7395"/>
                  </a:lnTo>
                  <a:cubicBezTo>
                    <a:pt x="340" y="7064"/>
                    <a:pt x="318" y="6495"/>
                    <a:pt x="332" y="6164"/>
                  </a:cubicBezTo>
                  <a:cubicBezTo>
                    <a:pt x="246" y="5663"/>
                    <a:pt x="196" y="5400"/>
                    <a:pt x="110" y="4899"/>
                  </a:cubicBezTo>
                  <a:lnTo>
                    <a:pt x="497" y="3680"/>
                  </a:lnTo>
                  <a:lnTo>
                    <a:pt x="497" y="3659"/>
                  </a:lnTo>
                  <a:lnTo>
                    <a:pt x="77" y="2415"/>
                  </a:lnTo>
                  <a:cubicBezTo>
                    <a:pt x="51" y="2139"/>
                    <a:pt x="26" y="1863"/>
                    <a:pt x="0" y="1587"/>
                  </a:cubicBezTo>
                  <a:cubicBezTo>
                    <a:pt x="38" y="1509"/>
                    <a:pt x="75" y="1430"/>
                    <a:pt x="113" y="1352"/>
                  </a:cubicBezTo>
                  <a:lnTo>
                    <a:pt x="456" y="1503"/>
                  </a:lnTo>
                  <a:lnTo>
                    <a:pt x="328" y="1416"/>
                  </a:lnTo>
                  <a:lnTo>
                    <a:pt x="765" y="2779"/>
                  </a:lnTo>
                  <a:lnTo>
                    <a:pt x="1165" y="3098"/>
                  </a:lnTo>
                  <a:lnTo>
                    <a:pt x="2755" y="3046"/>
                  </a:lnTo>
                  <a:lnTo>
                    <a:pt x="4561" y="3101"/>
                  </a:lnTo>
                  <a:lnTo>
                    <a:pt x="5359" y="2978"/>
                  </a:lnTo>
                  <a:lnTo>
                    <a:pt x="6171" y="2409"/>
                  </a:lnTo>
                  <a:lnTo>
                    <a:pt x="8092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6030683" y="5005231"/>
              <a:ext cx="677096" cy="452748"/>
            </a:xfrm>
            <a:custGeom>
              <a:avLst/>
              <a:gdLst>
                <a:gd name="T0" fmla="*/ 3423 w 3656"/>
                <a:gd name="T1" fmla="*/ 5 h 2494"/>
                <a:gd name="T2" fmla="*/ 3241 w 3656"/>
                <a:gd name="T3" fmla="*/ 199 h 2494"/>
                <a:gd name="T4" fmla="*/ 3656 w 3656"/>
                <a:gd name="T5" fmla="*/ 662 h 2494"/>
                <a:gd name="T6" fmla="*/ 3587 w 3656"/>
                <a:gd name="T7" fmla="*/ 812 h 2494"/>
                <a:gd name="T8" fmla="*/ 2947 w 3656"/>
                <a:gd name="T9" fmla="*/ 1002 h 2494"/>
                <a:gd name="T10" fmla="*/ 2459 w 3656"/>
                <a:gd name="T11" fmla="*/ 1688 h 2494"/>
                <a:gd name="T12" fmla="*/ 2595 w 3656"/>
                <a:gd name="T13" fmla="*/ 2401 h 2494"/>
                <a:gd name="T14" fmla="*/ 2634 w 3656"/>
                <a:gd name="T15" fmla="*/ 2494 h 2494"/>
                <a:gd name="T16" fmla="*/ 2405 w 3656"/>
                <a:gd name="T17" fmla="*/ 2462 h 2494"/>
                <a:gd name="T18" fmla="*/ 2240 w 3656"/>
                <a:gd name="T19" fmla="*/ 1943 h 2494"/>
                <a:gd name="T20" fmla="*/ 2186 w 3656"/>
                <a:gd name="T21" fmla="*/ 2245 h 2494"/>
                <a:gd name="T22" fmla="*/ 2291 w 3656"/>
                <a:gd name="T23" fmla="*/ 2456 h 2494"/>
                <a:gd name="T24" fmla="*/ 2035 w 3656"/>
                <a:gd name="T25" fmla="*/ 2367 h 2494"/>
                <a:gd name="T26" fmla="*/ 1844 w 3656"/>
                <a:gd name="T27" fmla="*/ 1619 h 2494"/>
                <a:gd name="T28" fmla="*/ 1054 w 3656"/>
                <a:gd name="T29" fmla="*/ 1813 h 2494"/>
                <a:gd name="T30" fmla="*/ 925 w 3656"/>
                <a:gd name="T31" fmla="*/ 1823 h 2494"/>
                <a:gd name="T32" fmla="*/ 803 w 3656"/>
                <a:gd name="T33" fmla="*/ 1820 h 2494"/>
                <a:gd name="T34" fmla="*/ 690 w 3656"/>
                <a:gd name="T35" fmla="*/ 1880 h 2494"/>
                <a:gd name="T36" fmla="*/ 1024 w 3656"/>
                <a:gd name="T37" fmla="*/ 2418 h 2494"/>
                <a:gd name="T38" fmla="*/ 765 w 3656"/>
                <a:gd name="T39" fmla="*/ 2455 h 2494"/>
                <a:gd name="T40" fmla="*/ 634 w 3656"/>
                <a:gd name="T41" fmla="*/ 2297 h 2494"/>
                <a:gd name="T42" fmla="*/ 418 w 3656"/>
                <a:gd name="T43" fmla="*/ 1784 h 2494"/>
                <a:gd name="T44" fmla="*/ 511 w 3656"/>
                <a:gd name="T45" fmla="*/ 2474 h 2494"/>
                <a:gd name="T46" fmla="*/ 236 w 3656"/>
                <a:gd name="T47" fmla="*/ 2494 h 2494"/>
                <a:gd name="T48" fmla="*/ 185 w 3656"/>
                <a:gd name="T49" fmla="*/ 2379 h 2494"/>
                <a:gd name="T50" fmla="*/ 190 w 3656"/>
                <a:gd name="T51" fmla="*/ 1370 h 2494"/>
                <a:gd name="T52" fmla="*/ 101 w 3656"/>
                <a:gd name="T53" fmla="*/ 984 h 2494"/>
                <a:gd name="T54" fmla="*/ 93 w 3656"/>
                <a:gd name="T55" fmla="*/ 1422 h 2494"/>
                <a:gd name="T56" fmla="*/ 9 w 3656"/>
                <a:gd name="T57" fmla="*/ 1470 h 2494"/>
                <a:gd name="T58" fmla="*/ 0 w 3656"/>
                <a:gd name="T59" fmla="*/ 1274 h 2494"/>
                <a:gd name="T60" fmla="*/ 40 w 3656"/>
                <a:gd name="T61" fmla="*/ 867 h 2494"/>
                <a:gd name="T62" fmla="*/ 189 w 3656"/>
                <a:gd name="T63" fmla="*/ 450 h 2494"/>
                <a:gd name="T64" fmla="*/ 1559 w 3656"/>
                <a:gd name="T65" fmla="*/ 427 h 2494"/>
                <a:gd name="T66" fmla="*/ 2768 w 3656"/>
                <a:gd name="T67" fmla="*/ 239 h 2494"/>
                <a:gd name="T68" fmla="*/ 2665 w 3656"/>
                <a:gd name="T69" fmla="*/ 64 h 2494"/>
                <a:gd name="T70" fmla="*/ 2879 w 3656"/>
                <a:gd name="T71" fmla="*/ 149 h 2494"/>
                <a:gd name="T72" fmla="*/ 3343 w 3656"/>
                <a:gd name="T73" fmla="*/ 0 h 2494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268 w 10000"/>
                <a:gd name="connsiteY10" fmla="*/ 617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693 w 10000"/>
                <a:gd name="connsiteY16" fmla="*/ 10000 h 10000"/>
                <a:gd name="connsiteX17" fmla="*/ 6578 w 10000"/>
                <a:gd name="connsiteY17" fmla="*/ 9872 h 10000"/>
                <a:gd name="connsiteX18" fmla="*/ 6324 w 10000"/>
                <a:gd name="connsiteY18" fmla="*/ 8697 h 10000"/>
                <a:gd name="connsiteX19" fmla="*/ 6127 w 10000"/>
                <a:gd name="connsiteY19" fmla="*/ 7791 h 10000"/>
                <a:gd name="connsiteX20" fmla="*/ 5935 w 10000"/>
                <a:gd name="connsiteY20" fmla="*/ 7638 h 10000"/>
                <a:gd name="connsiteX21" fmla="*/ 5979 w 10000"/>
                <a:gd name="connsiteY21" fmla="*/ 9002 h 10000"/>
                <a:gd name="connsiteX22" fmla="*/ 6329 w 10000"/>
                <a:gd name="connsiteY22" fmla="*/ 9715 h 10000"/>
                <a:gd name="connsiteX23" fmla="*/ 6266 w 10000"/>
                <a:gd name="connsiteY23" fmla="*/ 9848 h 10000"/>
                <a:gd name="connsiteX24" fmla="*/ 5695 w 10000"/>
                <a:gd name="connsiteY24" fmla="*/ 9848 h 10000"/>
                <a:gd name="connsiteX25" fmla="*/ 5566 w 10000"/>
                <a:gd name="connsiteY25" fmla="*/ 9491 h 10000"/>
                <a:gd name="connsiteX26" fmla="*/ 5328 w 10000"/>
                <a:gd name="connsiteY26" fmla="*/ 7001 h 10000"/>
                <a:gd name="connsiteX27" fmla="*/ 5044 w 10000"/>
                <a:gd name="connsiteY27" fmla="*/ 6492 h 10000"/>
                <a:gd name="connsiteX28" fmla="*/ 3359 w 10000"/>
                <a:gd name="connsiteY28" fmla="*/ 6728 h 10000"/>
                <a:gd name="connsiteX29" fmla="*/ 2883 w 10000"/>
                <a:gd name="connsiteY29" fmla="*/ 7269 h 10000"/>
                <a:gd name="connsiteX30" fmla="*/ 2722 w 10000"/>
                <a:gd name="connsiteY30" fmla="*/ 7787 h 10000"/>
                <a:gd name="connsiteX31" fmla="*/ 2530 w 10000"/>
                <a:gd name="connsiteY31" fmla="*/ 7310 h 10000"/>
                <a:gd name="connsiteX32" fmla="*/ 2333 w 10000"/>
                <a:gd name="connsiteY32" fmla="*/ 7787 h 10000"/>
                <a:gd name="connsiteX33" fmla="*/ 2196 w 10000"/>
                <a:gd name="connsiteY33" fmla="*/ 7298 h 10000"/>
                <a:gd name="connsiteX34" fmla="*/ 1980 w 10000"/>
                <a:gd name="connsiteY34" fmla="*/ 7269 h 10000"/>
                <a:gd name="connsiteX35" fmla="*/ 1887 w 10000"/>
                <a:gd name="connsiteY35" fmla="*/ 7538 h 10000"/>
                <a:gd name="connsiteX36" fmla="*/ 2257 w 10000"/>
                <a:gd name="connsiteY36" fmla="*/ 9206 h 10000"/>
                <a:gd name="connsiteX37" fmla="*/ 2801 w 10000"/>
                <a:gd name="connsiteY37" fmla="*/ 9695 h 10000"/>
                <a:gd name="connsiteX38" fmla="*/ 2719 w 10000"/>
                <a:gd name="connsiteY38" fmla="*/ 9848 h 10000"/>
                <a:gd name="connsiteX39" fmla="*/ 2092 w 10000"/>
                <a:gd name="connsiteY39" fmla="*/ 9844 h 10000"/>
                <a:gd name="connsiteX40" fmla="*/ 1975 w 10000"/>
                <a:gd name="connsiteY40" fmla="*/ 9739 h 10000"/>
                <a:gd name="connsiteX41" fmla="*/ 1734 w 10000"/>
                <a:gd name="connsiteY41" fmla="*/ 9210 h 10000"/>
                <a:gd name="connsiteX42" fmla="*/ 1275 w 10000"/>
                <a:gd name="connsiteY42" fmla="*/ 7153 h 10000"/>
                <a:gd name="connsiteX43" fmla="*/ 1143 w 10000"/>
                <a:gd name="connsiteY43" fmla="*/ 7153 h 10000"/>
                <a:gd name="connsiteX44" fmla="*/ 892 w 10000"/>
                <a:gd name="connsiteY44" fmla="*/ 8701 h 10000"/>
                <a:gd name="connsiteX45" fmla="*/ 1398 w 10000"/>
                <a:gd name="connsiteY45" fmla="*/ 9920 h 10000"/>
                <a:gd name="connsiteX46" fmla="*/ 1217 w 10000"/>
                <a:gd name="connsiteY46" fmla="*/ 10000 h 10000"/>
                <a:gd name="connsiteX47" fmla="*/ 646 w 10000"/>
                <a:gd name="connsiteY47" fmla="*/ 10000 h 10000"/>
                <a:gd name="connsiteX48" fmla="*/ 520 w 10000"/>
                <a:gd name="connsiteY48" fmla="*/ 9840 h 10000"/>
                <a:gd name="connsiteX49" fmla="*/ 506 w 10000"/>
                <a:gd name="connsiteY49" fmla="*/ 9539 h 10000"/>
                <a:gd name="connsiteX50" fmla="*/ 372 w 10000"/>
                <a:gd name="connsiteY50" fmla="*/ 6844 h 10000"/>
                <a:gd name="connsiteX51" fmla="*/ 520 w 10000"/>
                <a:gd name="connsiteY51" fmla="*/ 5493 h 10000"/>
                <a:gd name="connsiteX52" fmla="*/ 306 w 10000"/>
                <a:gd name="connsiteY52" fmla="*/ 3937 h 10000"/>
                <a:gd name="connsiteX53" fmla="*/ 276 w 10000"/>
                <a:gd name="connsiteY53" fmla="*/ 3945 h 10000"/>
                <a:gd name="connsiteX54" fmla="*/ 367 w 10000"/>
                <a:gd name="connsiteY54" fmla="*/ 4968 h 10000"/>
                <a:gd name="connsiteX55" fmla="*/ 254 w 10000"/>
                <a:gd name="connsiteY55" fmla="*/ 5702 h 10000"/>
                <a:gd name="connsiteX56" fmla="*/ 118 w 10000"/>
                <a:gd name="connsiteY56" fmla="*/ 5926 h 10000"/>
                <a:gd name="connsiteX57" fmla="*/ 25 w 10000"/>
                <a:gd name="connsiteY57" fmla="*/ 5894 h 10000"/>
                <a:gd name="connsiteX58" fmla="*/ 0 w 10000"/>
                <a:gd name="connsiteY58" fmla="*/ 5108 h 10000"/>
                <a:gd name="connsiteX59" fmla="*/ 0 w 10000"/>
                <a:gd name="connsiteY59" fmla="*/ 5108 h 10000"/>
                <a:gd name="connsiteX60" fmla="*/ 85 w 10000"/>
                <a:gd name="connsiteY60" fmla="*/ 4322 h 10000"/>
                <a:gd name="connsiteX61" fmla="*/ 109 w 10000"/>
                <a:gd name="connsiteY61" fmla="*/ 3476 h 10000"/>
                <a:gd name="connsiteX62" fmla="*/ 246 w 10000"/>
                <a:gd name="connsiteY62" fmla="*/ 2302 h 10000"/>
                <a:gd name="connsiteX63" fmla="*/ 517 w 10000"/>
                <a:gd name="connsiteY63" fmla="*/ 1804 h 10000"/>
                <a:gd name="connsiteX64" fmla="*/ 881 w 10000"/>
                <a:gd name="connsiteY64" fmla="*/ 1576 h 10000"/>
                <a:gd name="connsiteX65" fmla="*/ 4264 w 10000"/>
                <a:gd name="connsiteY65" fmla="*/ 1712 h 10000"/>
                <a:gd name="connsiteX66" fmla="*/ 5504 w 10000"/>
                <a:gd name="connsiteY66" fmla="*/ 1493 h 10000"/>
                <a:gd name="connsiteX67" fmla="*/ 7536 w 10000"/>
                <a:gd name="connsiteY67" fmla="*/ 1195 h 10000"/>
                <a:gd name="connsiteX68" fmla="*/ 7571 w 10000"/>
                <a:gd name="connsiteY68" fmla="*/ 958 h 10000"/>
                <a:gd name="connsiteX69" fmla="*/ 7292 w 10000"/>
                <a:gd name="connsiteY69" fmla="*/ 509 h 10000"/>
                <a:gd name="connsiteX70" fmla="*/ 7289 w 10000"/>
                <a:gd name="connsiteY70" fmla="*/ 257 h 10000"/>
                <a:gd name="connsiteX71" fmla="*/ 7445 w 10000"/>
                <a:gd name="connsiteY71" fmla="*/ 209 h 10000"/>
                <a:gd name="connsiteX72" fmla="*/ 7875 w 10000"/>
                <a:gd name="connsiteY72" fmla="*/ 597 h 10000"/>
                <a:gd name="connsiteX73" fmla="*/ 8580 w 10000"/>
                <a:gd name="connsiteY73" fmla="*/ 593 h 10000"/>
                <a:gd name="connsiteX74" fmla="*/ 9144 w 10000"/>
                <a:gd name="connsiteY74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268 w 10000"/>
                <a:gd name="connsiteY10" fmla="*/ 617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693 w 10000"/>
                <a:gd name="connsiteY16" fmla="*/ 10000 h 10000"/>
                <a:gd name="connsiteX17" fmla="*/ 6578 w 10000"/>
                <a:gd name="connsiteY17" fmla="*/ 9872 h 10000"/>
                <a:gd name="connsiteX18" fmla="*/ 6324 w 10000"/>
                <a:gd name="connsiteY18" fmla="*/ 8697 h 10000"/>
                <a:gd name="connsiteX19" fmla="*/ 6127 w 10000"/>
                <a:gd name="connsiteY19" fmla="*/ 7791 h 10000"/>
                <a:gd name="connsiteX20" fmla="*/ 5935 w 10000"/>
                <a:gd name="connsiteY20" fmla="*/ 7638 h 10000"/>
                <a:gd name="connsiteX21" fmla="*/ 5979 w 10000"/>
                <a:gd name="connsiteY21" fmla="*/ 9002 h 10000"/>
                <a:gd name="connsiteX22" fmla="*/ 6329 w 10000"/>
                <a:gd name="connsiteY22" fmla="*/ 9715 h 10000"/>
                <a:gd name="connsiteX23" fmla="*/ 6266 w 10000"/>
                <a:gd name="connsiteY23" fmla="*/ 9848 h 10000"/>
                <a:gd name="connsiteX24" fmla="*/ 5695 w 10000"/>
                <a:gd name="connsiteY24" fmla="*/ 9848 h 10000"/>
                <a:gd name="connsiteX25" fmla="*/ 5566 w 10000"/>
                <a:gd name="connsiteY25" fmla="*/ 9491 h 10000"/>
                <a:gd name="connsiteX26" fmla="*/ 5328 w 10000"/>
                <a:gd name="connsiteY26" fmla="*/ 7001 h 10000"/>
                <a:gd name="connsiteX27" fmla="*/ 5044 w 10000"/>
                <a:gd name="connsiteY27" fmla="*/ 6492 h 10000"/>
                <a:gd name="connsiteX28" fmla="*/ 3359 w 10000"/>
                <a:gd name="connsiteY28" fmla="*/ 6728 h 10000"/>
                <a:gd name="connsiteX29" fmla="*/ 2883 w 10000"/>
                <a:gd name="connsiteY29" fmla="*/ 7269 h 10000"/>
                <a:gd name="connsiteX30" fmla="*/ 2722 w 10000"/>
                <a:gd name="connsiteY30" fmla="*/ 7787 h 10000"/>
                <a:gd name="connsiteX31" fmla="*/ 2530 w 10000"/>
                <a:gd name="connsiteY31" fmla="*/ 7310 h 10000"/>
                <a:gd name="connsiteX32" fmla="*/ 2333 w 10000"/>
                <a:gd name="connsiteY32" fmla="*/ 7787 h 10000"/>
                <a:gd name="connsiteX33" fmla="*/ 2196 w 10000"/>
                <a:gd name="connsiteY33" fmla="*/ 7298 h 10000"/>
                <a:gd name="connsiteX34" fmla="*/ 1980 w 10000"/>
                <a:gd name="connsiteY34" fmla="*/ 7269 h 10000"/>
                <a:gd name="connsiteX35" fmla="*/ 1887 w 10000"/>
                <a:gd name="connsiteY35" fmla="*/ 7538 h 10000"/>
                <a:gd name="connsiteX36" fmla="*/ 2257 w 10000"/>
                <a:gd name="connsiteY36" fmla="*/ 9206 h 10000"/>
                <a:gd name="connsiteX37" fmla="*/ 2801 w 10000"/>
                <a:gd name="connsiteY37" fmla="*/ 9695 h 10000"/>
                <a:gd name="connsiteX38" fmla="*/ 2719 w 10000"/>
                <a:gd name="connsiteY38" fmla="*/ 9848 h 10000"/>
                <a:gd name="connsiteX39" fmla="*/ 2092 w 10000"/>
                <a:gd name="connsiteY39" fmla="*/ 9844 h 10000"/>
                <a:gd name="connsiteX40" fmla="*/ 1975 w 10000"/>
                <a:gd name="connsiteY40" fmla="*/ 9739 h 10000"/>
                <a:gd name="connsiteX41" fmla="*/ 1734 w 10000"/>
                <a:gd name="connsiteY41" fmla="*/ 9210 h 10000"/>
                <a:gd name="connsiteX42" fmla="*/ 1275 w 10000"/>
                <a:gd name="connsiteY42" fmla="*/ 7153 h 10000"/>
                <a:gd name="connsiteX43" fmla="*/ 1143 w 10000"/>
                <a:gd name="connsiteY43" fmla="*/ 7153 h 10000"/>
                <a:gd name="connsiteX44" fmla="*/ 892 w 10000"/>
                <a:gd name="connsiteY44" fmla="*/ 8701 h 10000"/>
                <a:gd name="connsiteX45" fmla="*/ 1398 w 10000"/>
                <a:gd name="connsiteY45" fmla="*/ 9920 h 10000"/>
                <a:gd name="connsiteX46" fmla="*/ 1217 w 10000"/>
                <a:gd name="connsiteY46" fmla="*/ 10000 h 10000"/>
                <a:gd name="connsiteX47" fmla="*/ 646 w 10000"/>
                <a:gd name="connsiteY47" fmla="*/ 10000 h 10000"/>
                <a:gd name="connsiteX48" fmla="*/ 520 w 10000"/>
                <a:gd name="connsiteY48" fmla="*/ 9840 h 10000"/>
                <a:gd name="connsiteX49" fmla="*/ 506 w 10000"/>
                <a:gd name="connsiteY49" fmla="*/ 9539 h 10000"/>
                <a:gd name="connsiteX50" fmla="*/ 372 w 10000"/>
                <a:gd name="connsiteY50" fmla="*/ 6844 h 10000"/>
                <a:gd name="connsiteX51" fmla="*/ 520 w 10000"/>
                <a:gd name="connsiteY51" fmla="*/ 5493 h 10000"/>
                <a:gd name="connsiteX52" fmla="*/ 306 w 10000"/>
                <a:gd name="connsiteY52" fmla="*/ 3937 h 10000"/>
                <a:gd name="connsiteX53" fmla="*/ 276 w 10000"/>
                <a:gd name="connsiteY53" fmla="*/ 3945 h 10000"/>
                <a:gd name="connsiteX54" fmla="*/ 367 w 10000"/>
                <a:gd name="connsiteY54" fmla="*/ 4968 h 10000"/>
                <a:gd name="connsiteX55" fmla="*/ 254 w 10000"/>
                <a:gd name="connsiteY55" fmla="*/ 5702 h 10000"/>
                <a:gd name="connsiteX56" fmla="*/ 118 w 10000"/>
                <a:gd name="connsiteY56" fmla="*/ 5926 h 10000"/>
                <a:gd name="connsiteX57" fmla="*/ 25 w 10000"/>
                <a:gd name="connsiteY57" fmla="*/ 5894 h 10000"/>
                <a:gd name="connsiteX58" fmla="*/ 0 w 10000"/>
                <a:gd name="connsiteY58" fmla="*/ 5108 h 10000"/>
                <a:gd name="connsiteX59" fmla="*/ 0 w 10000"/>
                <a:gd name="connsiteY59" fmla="*/ 5108 h 10000"/>
                <a:gd name="connsiteX60" fmla="*/ 85 w 10000"/>
                <a:gd name="connsiteY60" fmla="*/ 4322 h 10000"/>
                <a:gd name="connsiteX61" fmla="*/ 109 w 10000"/>
                <a:gd name="connsiteY61" fmla="*/ 3476 h 10000"/>
                <a:gd name="connsiteX62" fmla="*/ 246 w 10000"/>
                <a:gd name="connsiteY62" fmla="*/ 2302 h 10000"/>
                <a:gd name="connsiteX63" fmla="*/ 517 w 10000"/>
                <a:gd name="connsiteY63" fmla="*/ 1804 h 10000"/>
                <a:gd name="connsiteX64" fmla="*/ 881 w 10000"/>
                <a:gd name="connsiteY64" fmla="*/ 1576 h 10000"/>
                <a:gd name="connsiteX65" fmla="*/ 4264 w 10000"/>
                <a:gd name="connsiteY65" fmla="*/ 1712 h 10000"/>
                <a:gd name="connsiteX66" fmla="*/ 5955 w 10000"/>
                <a:gd name="connsiteY66" fmla="*/ 1523 h 10000"/>
                <a:gd name="connsiteX67" fmla="*/ 7536 w 10000"/>
                <a:gd name="connsiteY67" fmla="*/ 1195 h 10000"/>
                <a:gd name="connsiteX68" fmla="*/ 7571 w 10000"/>
                <a:gd name="connsiteY68" fmla="*/ 958 h 10000"/>
                <a:gd name="connsiteX69" fmla="*/ 7292 w 10000"/>
                <a:gd name="connsiteY69" fmla="*/ 509 h 10000"/>
                <a:gd name="connsiteX70" fmla="*/ 7289 w 10000"/>
                <a:gd name="connsiteY70" fmla="*/ 257 h 10000"/>
                <a:gd name="connsiteX71" fmla="*/ 7445 w 10000"/>
                <a:gd name="connsiteY71" fmla="*/ 209 h 10000"/>
                <a:gd name="connsiteX72" fmla="*/ 7875 w 10000"/>
                <a:gd name="connsiteY72" fmla="*/ 597 h 10000"/>
                <a:gd name="connsiteX73" fmla="*/ 8580 w 10000"/>
                <a:gd name="connsiteY73" fmla="*/ 593 h 10000"/>
                <a:gd name="connsiteX74" fmla="*/ 9144 w 10000"/>
                <a:gd name="connsiteY74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268 w 10000"/>
                <a:gd name="connsiteY10" fmla="*/ 617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693 w 10000"/>
                <a:gd name="connsiteY16" fmla="*/ 10000 h 10000"/>
                <a:gd name="connsiteX17" fmla="*/ 6578 w 10000"/>
                <a:gd name="connsiteY17" fmla="*/ 9872 h 10000"/>
                <a:gd name="connsiteX18" fmla="*/ 6324 w 10000"/>
                <a:gd name="connsiteY18" fmla="*/ 8697 h 10000"/>
                <a:gd name="connsiteX19" fmla="*/ 6127 w 10000"/>
                <a:gd name="connsiteY19" fmla="*/ 7791 h 10000"/>
                <a:gd name="connsiteX20" fmla="*/ 5935 w 10000"/>
                <a:gd name="connsiteY20" fmla="*/ 7638 h 10000"/>
                <a:gd name="connsiteX21" fmla="*/ 5979 w 10000"/>
                <a:gd name="connsiteY21" fmla="*/ 9002 h 10000"/>
                <a:gd name="connsiteX22" fmla="*/ 6329 w 10000"/>
                <a:gd name="connsiteY22" fmla="*/ 9715 h 10000"/>
                <a:gd name="connsiteX23" fmla="*/ 6266 w 10000"/>
                <a:gd name="connsiteY23" fmla="*/ 9848 h 10000"/>
                <a:gd name="connsiteX24" fmla="*/ 5695 w 10000"/>
                <a:gd name="connsiteY24" fmla="*/ 9848 h 10000"/>
                <a:gd name="connsiteX25" fmla="*/ 5566 w 10000"/>
                <a:gd name="connsiteY25" fmla="*/ 9491 h 10000"/>
                <a:gd name="connsiteX26" fmla="*/ 5328 w 10000"/>
                <a:gd name="connsiteY26" fmla="*/ 7001 h 10000"/>
                <a:gd name="connsiteX27" fmla="*/ 4921 w 10000"/>
                <a:gd name="connsiteY27" fmla="*/ 6552 h 10000"/>
                <a:gd name="connsiteX28" fmla="*/ 3359 w 10000"/>
                <a:gd name="connsiteY28" fmla="*/ 6728 h 10000"/>
                <a:gd name="connsiteX29" fmla="*/ 2883 w 10000"/>
                <a:gd name="connsiteY29" fmla="*/ 7269 h 10000"/>
                <a:gd name="connsiteX30" fmla="*/ 2722 w 10000"/>
                <a:gd name="connsiteY30" fmla="*/ 7787 h 10000"/>
                <a:gd name="connsiteX31" fmla="*/ 2530 w 10000"/>
                <a:gd name="connsiteY31" fmla="*/ 7310 h 10000"/>
                <a:gd name="connsiteX32" fmla="*/ 2333 w 10000"/>
                <a:gd name="connsiteY32" fmla="*/ 7787 h 10000"/>
                <a:gd name="connsiteX33" fmla="*/ 2196 w 10000"/>
                <a:gd name="connsiteY33" fmla="*/ 7298 h 10000"/>
                <a:gd name="connsiteX34" fmla="*/ 1980 w 10000"/>
                <a:gd name="connsiteY34" fmla="*/ 7269 h 10000"/>
                <a:gd name="connsiteX35" fmla="*/ 1887 w 10000"/>
                <a:gd name="connsiteY35" fmla="*/ 7538 h 10000"/>
                <a:gd name="connsiteX36" fmla="*/ 2257 w 10000"/>
                <a:gd name="connsiteY36" fmla="*/ 9206 h 10000"/>
                <a:gd name="connsiteX37" fmla="*/ 2801 w 10000"/>
                <a:gd name="connsiteY37" fmla="*/ 9695 h 10000"/>
                <a:gd name="connsiteX38" fmla="*/ 2719 w 10000"/>
                <a:gd name="connsiteY38" fmla="*/ 9848 h 10000"/>
                <a:gd name="connsiteX39" fmla="*/ 2092 w 10000"/>
                <a:gd name="connsiteY39" fmla="*/ 9844 h 10000"/>
                <a:gd name="connsiteX40" fmla="*/ 1975 w 10000"/>
                <a:gd name="connsiteY40" fmla="*/ 9739 h 10000"/>
                <a:gd name="connsiteX41" fmla="*/ 1734 w 10000"/>
                <a:gd name="connsiteY41" fmla="*/ 9210 h 10000"/>
                <a:gd name="connsiteX42" fmla="*/ 1275 w 10000"/>
                <a:gd name="connsiteY42" fmla="*/ 7153 h 10000"/>
                <a:gd name="connsiteX43" fmla="*/ 1143 w 10000"/>
                <a:gd name="connsiteY43" fmla="*/ 7153 h 10000"/>
                <a:gd name="connsiteX44" fmla="*/ 892 w 10000"/>
                <a:gd name="connsiteY44" fmla="*/ 8701 h 10000"/>
                <a:gd name="connsiteX45" fmla="*/ 1398 w 10000"/>
                <a:gd name="connsiteY45" fmla="*/ 9920 h 10000"/>
                <a:gd name="connsiteX46" fmla="*/ 1217 w 10000"/>
                <a:gd name="connsiteY46" fmla="*/ 10000 h 10000"/>
                <a:gd name="connsiteX47" fmla="*/ 646 w 10000"/>
                <a:gd name="connsiteY47" fmla="*/ 10000 h 10000"/>
                <a:gd name="connsiteX48" fmla="*/ 520 w 10000"/>
                <a:gd name="connsiteY48" fmla="*/ 9840 h 10000"/>
                <a:gd name="connsiteX49" fmla="*/ 506 w 10000"/>
                <a:gd name="connsiteY49" fmla="*/ 9539 h 10000"/>
                <a:gd name="connsiteX50" fmla="*/ 372 w 10000"/>
                <a:gd name="connsiteY50" fmla="*/ 6844 h 10000"/>
                <a:gd name="connsiteX51" fmla="*/ 520 w 10000"/>
                <a:gd name="connsiteY51" fmla="*/ 5493 h 10000"/>
                <a:gd name="connsiteX52" fmla="*/ 306 w 10000"/>
                <a:gd name="connsiteY52" fmla="*/ 3937 h 10000"/>
                <a:gd name="connsiteX53" fmla="*/ 276 w 10000"/>
                <a:gd name="connsiteY53" fmla="*/ 3945 h 10000"/>
                <a:gd name="connsiteX54" fmla="*/ 367 w 10000"/>
                <a:gd name="connsiteY54" fmla="*/ 4968 h 10000"/>
                <a:gd name="connsiteX55" fmla="*/ 254 w 10000"/>
                <a:gd name="connsiteY55" fmla="*/ 5702 h 10000"/>
                <a:gd name="connsiteX56" fmla="*/ 118 w 10000"/>
                <a:gd name="connsiteY56" fmla="*/ 5926 h 10000"/>
                <a:gd name="connsiteX57" fmla="*/ 25 w 10000"/>
                <a:gd name="connsiteY57" fmla="*/ 5894 h 10000"/>
                <a:gd name="connsiteX58" fmla="*/ 0 w 10000"/>
                <a:gd name="connsiteY58" fmla="*/ 5108 h 10000"/>
                <a:gd name="connsiteX59" fmla="*/ 0 w 10000"/>
                <a:gd name="connsiteY59" fmla="*/ 5108 h 10000"/>
                <a:gd name="connsiteX60" fmla="*/ 85 w 10000"/>
                <a:gd name="connsiteY60" fmla="*/ 4322 h 10000"/>
                <a:gd name="connsiteX61" fmla="*/ 109 w 10000"/>
                <a:gd name="connsiteY61" fmla="*/ 3476 h 10000"/>
                <a:gd name="connsiteX62" fmla="*/ 246 w 10000"/>
                <a:gd name="connsiteY62" fmla="*/ 2302 h 10000"/>
                <a:gd name="connsiteX63" fmla="*/ 517 w 10000"/>
                <a:gd name="connsiteY63" fmla="*/ 1804 h 10000"/>
                <a:gd name="connsiteX64" fmla="*/ 881 w 10000"/>
                <a:gd name="connsiteY64" fmla="*/ 1576 h 10000"/>
                <a:gd name="connsiteX65" fmla="*/ 4264 w 10000"/>
                <a:gd name="connsiteY65" fmla="*/ 1712 h 10000"/>
                <a:gd name="connsiteX66" fmla="*/ 5955 w 10000"/>
                <a:gd name="connsiteY66" fmla="*/ 1523 h 10000"/>
                <a:gd name="connsiteX67" fmla="*/ 7536 w 10000"/>
                <a:gd name="connsiteY67" fmla="*/ 1195 h 10000"/>
                <a:gd name="connsiteX68" fmla="*/ 7571 w 10000"/>
                <a:gd name="connsiteY68" fmla="*/ 958 h 10000"/>
                <a:gd name="connsiteX69" fmla="*/ 7292 w 10000"/>
                <a:gd name="connsiteY69" fmla="*/ 509 h 10000"/>
                <a:gd name="connsiteX70" fmla="*/ 7289 w 10000"/>
                <a:gd name="connsiteY70" fmla="*/ 257 h 10000"/>
                <a:gd name="connsiteX71" fmla="*/ 7445 w 10000"/>
                <a:gd name="connsiteY71" fmla="*/ 209 h 10000"/>
                <a:gd name="connsiteX72" fmla="*/ 7875 w 10000"/>
                <a:gd name="connsiteY72" fmla="*/ 597 h 10000"/>
                <a:gd name="connsiteX73" fmla="*/ 8580 w 10000"/>
                <a:gd name="connsiteY73" fmla="*/ 593 h 10000"/>
                <a:gd name="connsiteX74" fmla="*/ 9144 w 10000"/>
                <a:gd name="connsiteY74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693 w 10000"/>
                <a:gd name="connsiteY16" fmla="*/ 10000 h 10000"/>
                <a:gd name="connsiteX17" fmla="*/ 6578 w 10000"/>
                <a:gd name="connsiteY17" fmla="*/ 9872 h 10000"/>
                <a:gd name="connsiteX18" fmla="*/ 6324 w 10000"/>
                <a:gd name="connsiteY18" fmla="*/ 8697 h 10000"/>
                <a:gd name="connsiteX19" fmla="*/ 6127 w 10000"/>
                <a:gd name="connsiteY19" fmla="*/ 7791 h 10000"/>
                <a:gd name="connsiteX20" fmla="*/ 5935 w 10000"/>
                <a:gd name="connsiteY20" fmla="*/ 7638 h 10000"/>
                <a:gd name="connsiteX21" fmla="*/ 5979 w 10000"/>
                <a:gd name="connsiteY21" fmla="*/ 9002 h 10000"/>
                <a:gd name="connsiteX22" fmla="*/ 6329 w 10000"/>
                <a:gd name="connsiteY22" fmla="*/ 9715 h 10000"/>
                <a:gd name="connsiteX23" fmla="*/ 6266 w 10000"/>
                <a:gd name="connsiteY23" fmla="*/ 9848 h 10000"/>
                <a:gd name="connsiteX24" fmla="*/ 5695 w 10000"/>
                <a:gd name="connsiteY24" fmla="*/ 9848 h 10000"/>
                <a:gd name="connsiteX25" fmla="*/ 5566 w 10000"/>
                <a:gd name="connsiteY25" fmla="*/ 9491 h 10000"/>
                <a:gd name="connsiteX26" fmla="*/ 5328 w 10000"/>
                <a:gd name="connsiteY26" fmla="*/ 7001 h 10000"/>
                <a:gd name="connsiteX27" fmla="*/ 4921 w 10000"/>
                <a:gd name="connsiteY27" fmla="*/ 6552 h 10000"/>
                <a:gd name="connsiteX28" fmla="*/ 3359 w 10000"/>
                <a:gd name="connsiteY28" fmla="*/ 6728 h 10000"/>
                <a:gd name="connsiteX29" fmla="*/ 2883 w 10000"/>
                <a:gd name="connsiteY29" fmla="*/ 7269 h 10000"/>
                <a:gd name="connsiteX30" fmla="*/ 2722 w 10000"/>
                <a:gd name="connsiteY30" fmla="*/ 7787 h 10000"/>
                <a:gd name="connsiteX31" fmla="*/ 2530 w 10000"/>
                <a:gd name="connsiteY31" fmla="*/ 7310 h 10000"/>
                <a:gd name="connsiteX32" fmla="*/ 2333 w 10000"/>
                <a:gd name="connsiteY32" fmla="*/ 7787 h 10000"/>
                <a:gd name="connsiteX33" fmla="*/ 2196 w 10000"/>
                <a:gd name="connsiteY33" fmla="*/ 7298 h 10000"/>
                <a:gd name="connsiteX34" fmla="*/ 1980 w 10000"/>
                <a:gd name="connsiteY34" fmla="*/ 7269 h 10000"/>
                <a:gd name="connsiteX35" fmla="*/ 1887 w 10000"/>
                <a:gd name="connsiteY35" fmla="*/ 7538 h 10000"/>
                <a:gd name="connsiteX36" fmla="*/ 2257 w 10000"/>
                <a:gd name="connsiteY36" fmla="*/ 9206 h 10000"/>
                <a:gd name="connsiteX37" fmla="*/ 2801 w 10000"/>
                <a:gd name="connsiteY37" fmla="*/ 9695 h 10000"/>
                <a:gd name="connsiteX38" fmla="*/ 2719 w 10000"/>
                <a:gd name="connsiteY38" fmla="*/ 9848 h 10000"/>
                <a:gd name="connsiteX39" fmla="*/ 2092 w 10000"/>
                <a:gd name="connsiteY39" fmla="*/ 9844 h 10000"/>
                <a:gd name="connsiteX40" fmla="*/ 1975 w 10000"/>
                <a:gd name="connsiteY40" fmla="*/ 9739 h 10000"/>
                <a:gd name="connsiteX41" fmla="*/ 1734 w 10000"/>
                <a:gd name="connsiteY41" fmla="*/ 9210 h 10000"/>
                <a:gd name="connsiteX42" fmla="*/ 1275 w 10000"/>
                <a:gd name="connsiteY42" fmla="*/ 7153 h 10000"/>
                <a:gd name="connsiteX43" fmla="*/ 1143 w 10000"/>
                <a:gd name="connsiteY43" fmla="*/ 7153 h 10000"/>
                <a:gd name="connsiteX44" fmla="*/ 892 w 10000"/>
                <a:gd name="connsiteY44" fmla="*/ 8701 h 10000"/>
                <a:gd name="connsiteX45" fmla="*/ 1398 w 10000"/>
                <a:gd name="connsiteY45" fmla="*/ 9920 h 10000"/>
                <a:gd name="connsiteX46" fmla="*/ 1217 w 10000"/>
                <a:gd name="connsiteY46" fmla="*/ 10000 h 10000"/>
                <a:gd name="connsiteX47" fmla="*/ 646 w 10000"/>
                <a:gd name="connsiteY47" fmla="*/ 10000 h 10000"/>
                <a:gd name="connsiteX48" fmla="*/ 520 w 10000"/>
                <a:gd name="connsiteY48" fmla="*/ 9840 h 10000"/>
                <a:gd name="connsiteX49" fmla="*/ 506 w 10000"/>
                <a:gd name="connsiteY49" fmla="*/ 9539 h 10000"/>
                <a:gd name="connsiteX50" fmla="*/ 372 w 10000"/>
                <a:gd name="connsiteY50" fmla="*/ 6844 h 10000"/>
                <a:gd name="connsiteX51" fmla="*/ 520 w 10000"/>
                <a:gd name="connsiteY51" fmla="*/ 5493 h 10000"/>
                <a:gd name="connsiteX52" fmla="*/ 306 w 10000"/>
                <a:gd name="connsiteY52" fmla="*/ 3937 h 10000"/>
                <a:gd name="connsiteX53" fmla="*/ 276 w 10000"/>
                <a:gd name="connsiteY53" fmla="*/ 3945 h 10000"/>
                <a:gd name="connsiteX54" fmla="*/ 367 w 10000"/>
                <a:gd name="connsiteY54" fmla="*/ 4968 h 10000"/>
                <a:gd name="connsiteX55" fmla="*/ 254 w 10000"/>
                <a:gd name="connsiteY55" fmla="*/ 5702 h 10000"/>
                <a:gd name="connsiteX56" fmla="*/ 118 w 10000"/>
                <a:gd name="connsiteY56" fmla="*/ 5926 h 10000"/>
                <a:gd name="connsiteX57" fmla="*/ 25 w 10000"/>
                <a:gd name="connsiteY57" fmla="*/ 5894 h 10000"/>
                <a:gd name="connsiteX58" fmla="*/ 0 w 10000"/>
                <a:gd name="connsiteY58" fmla="*/ 5108 h 10000"/>
                <a:gd name="connsiteX59" fmla="*/ 0 w 10000"/>
                <a:gd name="connsiteY59" fmla="*/ 5108 h 10000"/>
                <a:gd name="connsiteX60" fmla="*/ 85 w 10000"/>
                <a:gd name="connsiteY60" fmla="*/ 4322 h 10000"/>
                <a:gd name="connsiteX61" fmla="*/ 109 w 10000"/>
                <a:gd name="connsiteY61" fmla="*/ 3476 h 10000"/>
                <a:gd name="connsiteX62" fmla="*/ 246 w 10000"/>
                <a:gd name="connsiteY62" fmla="*/ 2302 h 10000"/>
                <a:gd name="connsiteX63" fmla="*/ 517 w 10000"/>
                <a:gd name="connsiteY63" fmla="*/ 1804 h 10000"/>
                <a:gd name="connsiteX64" fmla="*/ 881 w 10000"/>
                <a:gd name="connsiteY64" fmla="*/ 1576 h 10000"/>
                <a:gd name="connsiteX65" fmla="*/ 4264 w 10000"/>
                <a:gd name="connsiteY65" fmla="*/ 1712 h 10000"/>
                <a:gd name="connsiteX66" fmla="*/ 5955 w 10000"/>
                <a:gd name="connsiteY66" fmla="*/ 1523 h 10000"/>
                <a:gd name="connsiteX67" fmla="*/ 7536 w 10000"/>
                <a:gd name="connsiteY67" fmla="*/ 1195 h 10000"/>
                <a:gd name="connsiteX68" fmla="*/ 7571 w 10000"/>
                <a:gd name="connsiteY68" fmla="*/ 958 h 10000"/>
                <a:gd name="connsiteX69" fmla="*/ 7292 w 10000"/>
                <a:gd name="connsiteY69" fmla="*/ 509 h 10000"/>
                <a:gd name="connsiteX70" fmla="*/ 7289 w 10000"/>
                <a:gd name="connsiteY70" fmla="*/ 257 h 10000"/>
                <a:gd name="connsiteX71" fmla="*/ 7445 w 10000"/>
                <a:gd name="connsiteY71" fmla="*/ 209 h 10000"/>
                <a:gd name="connsiteX72" fmla="*/ 7875 w 10000"/>
                <a:gd name="connsiteY72" fmla="*/ 597 h 10000"/>
                <a:gd name="connsiteX73" fmla="*/ 8580 w 10000"/>
                <a:gd name="connsiteY73" fmla="*/ 593 h 10000"/>
                <a:gd name="connsiteX74" fmla="*/ 9144 w 10000"/>
                <a:gd name="connsiteY74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257 w 10000"/>
                <a:gd name="connsiteY37" fmla="*/ 9206 h 10000"/>
                <a:gd name="connsiteX38" fmla="*/ 2801 w 10000"/>
                <a:gd name="connsiteY38" fmla="*/ 9695 h 10000"/>
                <a:gd name="connsiteX39" fmla="*/ 2719 w 10000"/>
                <a:gd name="connsiteY39" fmla="*/ 9848 h 10000"/>
                <a:gd name="connsiteX40" fmla="*/ 2092 w 10000"/>
                <a:gd name="connsiteY40" fmla="*/ 9844 h 10000"/>
                <a:gd name="connsiteX41" fmla="*/ 1975 w 10000"/>
                <a:gd name="connsiteY41" fmla="*/ 9739 h 10000"/>
                <a:gd name="connsiteX42" fmla="*/ 1734 w 10000"/>
                <a:gd name="connsiteY42" fmla="*/ 9210 h 10000"/>
                <a:gd name="connsiteX43" fmla="*/ 1275 w 10000"/>
                <a:gd name="connsiteY43" fmla="*/ 7153 h 10000"/>
                <a:gd name="connsiteX44" fmla="*/ 1143 w 10000"/>
                <a:gd name="connsiteY44" fmla="*/ 7153 h 10000"/>
                <a:gd name="connsiteX45" fmla="*/ 892 w 10000"/>
                <a:gd name="connsiteY45" fmla="*/ 8701 h 10000"/>
                <a:gd name="connsiteX46" fmla="*/ 1398 w 10000"/>
                <a:gd name="connsiteY46" fmla="*/ 9920 h 10000"/>
                <a:gd name="connsiteX47" fmla="*/ 1217 w 10000"/>
                <a:gd name="connsiteY47" fmla="*/ 10000 h 10000"/>
                <a:gd name="connsiteX48" fmla="*/ 646 w 10000"/>
                <a:gd name="connsiteY48" fmla="*/ 10000 h 10000"/>
                <a:gd name="connsiteX49" fmla="*/ 520 w 10000"/>
                <a:gd name="connsiteY49" fmla="*/ 9840 h 10000"/>
                <a:gd name="connsiteX50" fmla="*/ 506 w 10000"/>
                <a:gd name="connsiteY50" fmla="*/ 9539 h 10000"/>
                <a:gd name="connsiteX51" fmla="*/ 372 w 10000"/>
                <a:gd name="connsiteY51" fmla="*/ 6844 h 10000"/>
                <a:gd name="connsiteX52" fmla="*/ 520 w 10000"/>
                <a:gd name="connsiteY52" fmla="*/ 5493 h 10000"/>
                <a:gd name="connsiteX53" fmla="*/ 306 w 10000"/>
                <a:gd name="connsiteY53" fmla="*/ 3937 h 10000"/>
                <a:gd name="connsiteX54" fmla="*/ 276 w 10000"/>
                <a:gd name="connsiteY54" fmla="*/ 3945 h 10000"/>
                <a:gd name="connsiteX55" fmla="*/ 367 w 10000"/>
                <a:gd name="connsiteY55" fmla="*/ 4968 h 10000"/>
                <a:gd name="connsiteX56" fmla="*/ 254 w 10000"/>
                <a:gd name="connsiteY56" fmla="*/ 5702 h 10000"/>
                <a:gd name="connsiteX57" fmla="*/ 118 w 10000"/>
                <a:gd name="connsiteY57" fmla="*/ 5926 h 10000"/>
                <a:gd name="connsiteX58" fmla="*/ 25 w 10000"/>
                <a:gd name="connsiteY58" fmla="*/ 5894 h 10000"/>
                <a:gd name="connsiteX59" fmla="*/ 0 w 10000"/>
                <a:gd name="connsiteY59" fmla="*/ 5108 h 10000"/>
                <a:gd name="connsiteX60" fmla="*/ 0 w 10000"/>
                <a:gd name="connsiteY60" fmla="*/ 5108 h 10000"/>
                <a:gd name="connsiteX61" fmla="*/ 85 w 10000"/>
                <a:gd name="connsiteY61" fmla="*/ 4322 h 10000"/>
                <a:gd name="connsiteX62" fmla="*/ 109 w 10000"/>
                <a:gd name="connsiteY62" fmla="*/ 3476 h 10000"/>
                <a:gd name="connsiteX63" fmla="*/ 246 w 10000"/>
                <a:gd name="connsiteY63" fmla="*/ 2302 h 10000"/>
                <a:gd name="connsiteX64" fmla="*/ 517 w 10000"/>
                <a:gd name="connsiteY64" fmla="*/ 1804 h 10000"/>
                <a:gd name="connsiteX65" fmla="*/ 881 w 10000"/>
                <a:gd name="connsiteY65" fmla="*/ 1576 h 10000"/>
                <a:gd name="connsiteX66" fmla="*/ 4264 w 10000"/>
                <a:gd name="connsiteY66" fmla="*/ 1712 h 10000"/>
                <a:gd name="connsiteX67" fmla="*/ 5955 w 10000"/>
                <a:gd name="connsiteY67" fmla="*/ 1523 h 10000"/>
                <a:gd name="connsiteX68" fmla="*/ 7536 w 10000"/>
                <a:gd name="connsiteY68" fmla="*/ 1195 h 10000"/>
                <a:gd name="connsiteX69" fmla="*/ 7571 w 10000"/>
                <a:gd name="connsiteY69" fmla="*/ 958 h 10000"/>
                <a:gd name="connsiteX70" fmla="*/ 7292 w 10000"/>
                <a:gd name="connsiteY70" fmla="*/ 509 h 10000"/>
                <a:gd name="connsiteX71" fmla="*/ 7289 w 10000"/>
                <a:gd name="connsiteY71" fmla="*/ 257 h 10000"/>
                <a:gd name="connsiteX72" fmla="*/ 7445 w 10000"/>
                <a:gd name="connsiteY72" fmla="*/ 209 h 10000"/>
                <a:gd name="connsiteX73" fmla="*/ 7875 w 10000"/>
                <a:gd name="connsiteY73" fmla="*/ 597 h 10000"/>
                <a:gd name="connsiteX74" fmla="*/ 8580 w 10000"/>
                <a:gd name="connsiteY74" fmla="*/ 593 h 10000"/>
                <a:gd name="connsiteX75" fmla="*/ 9144 w 10000"/>
                <a:gd name="connsiteY75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275 w 10000"/>
                <a:gd name="connsiteY44" fmla="*/ 7153 h 10000"/>
                <a:gd name="connsiteX45" fmla="*/ 1143 w 10000"/>
                <a:gd name="connsiteY45" fmla="*/ 7153 h 10000"/>
                <a:gd name="connsiteX46" fmla="*/ 892 w 10000"/>
                <a:gd name="connsiteY46" fmla="*/ 8701 h 10000"/>
                <a:gd name="connsiteX47" fmla="*/ 1398 w 10000"/>
                <a:gd name="connsiteY47" fmla="*/ 9920 h 10000"/>
                <a:gd name="connsiteX48" fmla="*/ 1217 w 10000"/>
                <a:gd name="connsiteY48" fmla="*/ 10000 h 10000"/>
                <a:gd name="connsiteX49" fmla="*/ 646 w 10000"/>
                <a:gd name="connsiteY49" fmla="*/ 10000 h 10000"/>
                <a:gd name="connsiteX50" fmla="*/ 520 w 10000"/>
                <a:gd name="connsiteY50" fmla="*/ 9840 h 10000"/>
                <a:gd name="connsiteX51" fmla="*/ 506 w 10000"/>
                <a:gd name="connsiteY51" fmla="*/ 9539 h 10000"/>
                <a:gd name="connsiteX52" fmla="*/ 372 w 10000"/>
                <a:gd name="connsiteY52" fmla="*/ 6844 h 10000"/>
                <a:gd name="connsiteX53" fmla="*/ 520 w 10000"/>
                <a:gd name="connsiteY53" fmla="*/ 5493 h 10000"/>
                <a:gd name="connsiteX54" fmla="*/ 306 w 10000"/>
                <a:gd name="connsiteY54" fmla="*/ 3937 h 10000"/>
                <a:gd name="connsiteX55" fmla="*/ 276 w 10000"/>
                <a:gd name="connsiteY55" fmla="*/ 3945 h 10000"/>
                <a:gd name="connsiteX56" fmla="*/ 367 w 10000"/>
                <a:gd name="connsiteY56" fmla="*/ 4968 h 10000"/>
                <a:gd name="connsiteX57" fmla="*/ 254 w 10000"/>
                <a:gd name="connsiteY57" fmla="*/ 5702 h 10000"/>
                <a:gd name="connsiteX58" fmla="*/ 118 w 10000"/>
                <a:gd name="connsiteY58" fmla="*/ 5926 h 10000"/>
                <a:gd name="connsiteX59" fmla="*/ 25 w 10000"/>
                <a:gd name="connsiteY59" fmla="*/ 5894 h 10000"/>
                <a:gd name="connsiteX60" fmla="*/ 0 w 10000"/>
                <a:gd name="connsiteY60" fmla="*/ 5108 h 10000"/>
                <a:gd name="connsiteX61" fmla="*/ 0 w 10000"/>
                <a:gd name="connsiteY61" fmla="*/ 5108 h 10000"/>
                <a:gd name="connsiteX62" fmla="*/ 85 w 10000"/>
                <a:gd name="connsiteY62" fmla="*/ 4322 h 10000"/>
                <a:gd name="connsiteX63" fmla="*/ 109 w 10000"/>
                <a:gd name="connsiteY63" fmla="*/ 3476 h 10000"/>
                <a:gd name="connsiteX64" fmla="*/ 246 w 10000"/>
                <a:gd name="connsiteY64" fmla="*/ 2302 h 10000"/>
                <a:gd name="connsiteX65" fmla="*/ 517 w 10000"/>
                <a:gd name="connsiteY65" fmla="*/ 1804 h 10000"/>
                <a:gd name="connsiteX66" fmla="*/ 881 w 10000"/>
                <a:gd name="connsiteY66" fmla="*/ 1576 h 10000"/>
                <a:gd name="connsiteX67" fmla="*/ 4264 w 10000"/>
                <a:gd name="connsiteY67" fmla="*/ 1712 h 10000"/>
                <a:gd name="connsiteX68" fmla="*/ 5955 w 10000"/>
                <a:gd name="connsiteY68" fmla="*/ 1523 h 10000"/>
                <a:gd name="connsiteX69" fmla="*/ 7536 w 10000"/>
                <a:gd name="connsiteY69" fmla="*/ 1195 h 10000"/>
                <a:gd name="connsiteX70" fmla="*/ 7571 w 10000"/>
                <a:gd name="connsiteY70" fmla="*/ 958 h 10000"/>
                <a:gd name="connsiteX71" fmla="*/ 7292 w 10000"/>
                <a:gd name="connsiteY71" fmla="*/ 509 h 10000"/>
                <a:gd name="connsiteX72" fmla="*/ 7289 w 10000"/>
                <a:gd name="connsiteY72" fmla="*/ 257 h 10000"/>
                <a:gd name="connsiteX73" fmla="*/ 7445 w 10000"/>
                <a:gd name="connsiteY73" fmla="*/ 209 h 10000"/>
                <a:gd name="connsiteX74" fmla="*/ 7875 w 10000"/>
                <a:gd name="connsiteY74" fmla="*/ 597 h 10000"/>
                <a:gd name="connsiteX75" fmla="*/ 8580 w 10000"/>
                <a:gd name="connsiteY75" fmla="*/ 593 h 10000"/>
                <a:gd name="connsiteX76" fmla="*/ 9144 w 10000"/>
                <a:gd name="connsiteY76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441 w 10000"/>
                <a:gd name="connsiteY44" fmla="*/ 8076 h 10000"/>
                <a:gd name="connsiteX45" fmla="*/ 1275 w 10000"/>
                <a:gd name="connsiteY45" fmla="*/ 7153 h 10000"/>
                <a:gd name="connsiteX46" fmla="*/ 1143 w 10000"/>
                <a:gd name="connsiteY46" fmla="*/ 7153 h 10000"/>
                <a:gd name="connsiteX47" fmla="*/ 892 w 10000"/>
                <a:gd name="connsiteY47" fmla="*/ 8701 h 10000"/>
                <a:gd name="connsiteX48" fmla="*/ 1398 w 10000"/>
                <a:gd name="connsiteY48" fmla="*/ 9920 h 10000"/>
                <a:gd name="connsiteX49" fmla="*/ 1217 w 10000"/>
                <a:gd name="connsiteY49" fmla="*/ 10000 h 10000"/>
                <a:gd name="connsiteX50" fmla="*/ 646 w 10000"/>
                <a:gd name="connsiteY50" fmla="*/ 10000 h 10000"/>
                <a:gd name="connsiteX51" fmla="*/ 520 w 10000"/>
                <a:gd name="connsiteY51" fmla="*/ 9840 h 10000"/>
                <a:gd name="connsiteX52" fmla="*/ 506 w 10000"/>
                <a:gd name="connsiteY52" fmla="*/ 9539 h 10000"/>
                <a:gd name="connsiteX53" fmla="*/ 372 w 10000"/>
                <a:gd name="connsiteY53" fmla="*/ 6844 h 10000"/>
                <a:gd name="connsiteX54" fmla="*/ 520 w 10000"/>
                <a:gd name="connsiteY54" fmla="*/ 5493 h 10000"/>
                <a:gd name="connsiteX55" fmla="*/ 306 w 10000"/>
                <a:gd name="connsiteY55" fmla="*/ 3937 h 10000"/>
                <a:gd name="connsiteX56" fmla="*/ 276 w 10000"/>
                <a:gd name="connsiteY56" fmla="*/ 3945 h 10000"/>
                <a:gd name="connsiteX57" fmla="*/ 367 w 10000"/>
                <a:gd name="connsiteY57" fmla="*/ 4968 h 10000"/>
                <a:gd name="connsiteX58" fmla="*/ 254 w 10000"/>
                <a:gd name="connsiteY58" fmla="*/ 5702 h 10000"/>
                <a:gd name="connsiteX59" fmla="*/ 118 w 10000"/>
                <a:gd name="connsiteY59" fmla="*/ 5926 h 10000"/>
                <a:gd name="connsiteX60" fmla="*/ 25 w 10000"/>
                <a:gd name="connsiteY60" fmla="*/ 5894 h 10000"/>
                <a:gd name="connsiteX61" fmla="*/ 0 w 10000"/>
                <a:gd name="connsiteY61" fmla="*/ 5108 h 10000"/>
                <a:gd name="connsiteX62" fmla="*/ 0 w 10000"/>
                <a:gd name="connsiteY62" fmla="*/ 5108 h 10000"/>
                <a:gd name="connsiteX63" fmla="*/ 85 w 10000"/>
                <a:gd name="connsiteY63" fmla="*/ 4322 h 10000"/>
                <a:gd name="connsiteX64" fmla="*/ 109 w 10000"/>
                <a:gd name="connsiteY64" fmla="*/ 3476 h 10000"/>
                <a:gd name="connsiteX65" fmla="*/ 246 w 10000"/>
                <a:gd name="connsiteY65" fmla="*/ 2302 h 10000"/>
                <a:gd name="connsiteX66" fmla="*/ 517 w 10000"/>
                <a:gd name="connsiteY66" fmla="*/ 1804 h 10000"/>
                <a:gd name="connsiteX67" fmla="*/ 881 w 10000"/>
                <a:gd name="connsiteY67" fmla="*/ 1576 h 10000"/>
                <a:gd name="connsiteX68" fmla="*/ 4264 w 10000"/>
                <a:gd name="connsiteY68" fmla="*/ 1712 h 10000"/>
                <a:gd name="connsiteX69" fmla="*/ 5955 w 10000"/>
                <a:gd name="connsiteY69" fmla="*/ 1523 h 10000"/>
                <a:gd name="connsiteX70" fmla="*/ 7536 w 10000"/>
                <a:gd name="connsiteY70" fmla="*/ 1195 h 10000"/>
                <a:gd name="connsiteX71" fmla="*/ 7571 w 10000"/>
                <a:gd name="connsiteY71" fmla="*/ 958 h 10000"/>
                <a:gd name="connsiteX72" fmla="*/ 7292 w 10000"/>
                <a:gd name="connsiteY72" fmla="*/ 509 h 10000"/>
                <a:gd name="connsiteX73" fmla="*/ 7289 w 10000"/>
                <a:gd name="connsiteY73" fmla="*/ 257 h 10000"/>
                <a:gd name="connsiteX74" fmla="*/ 7445 w 10000"/>
                <a:gd name="connsiteY74" fmla="*/ 209 h 10000"/>
                <a:gd name="connsiteX75" fmla="*/ 7875 w 10000"/>
                <a:gd name="connsiteY75" fmla="*/ 597 h 10000"/>
                <a:gd name="connsiteX76" fmla="*/ 8580 w 10000"/>
                <a:gd name="connsiteY76" fmla="*/ 593 h 10000"/>
                <a:gd name="connsiteX77" fmla="*/ 9144 w 10000"/>
                <a:gd name="connsiteY77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441 w 10000"/>
                <a:gd name="connsiteY44" fmla="*/ 8076 h 10000"/>
                <a:gd name="connsiteX45" fmla="*/ 1275 w 10000"/>
                <a:gd name="connsiteY45" fmla="*/ 7153 h 10000"/>
                <a:gd name="connsiteX46" fmla="*/ 1143 w 10000"/>
                <a:gd name="connsiteY46" fmla="*/ 7153 h 10000"/>
                <a:gd name="connsiteX47" fmla="*/ 892 w 10000"/>
                <a:gd name="connsiteY47" fmla="*/ 8701 h 10000"/>
                <a:gd name="connsiteX48" fmla="*/ 1398 w 10000"/>
                <a:gd name="connsiteY48" fmla="*/ 9920 h 10000"/>
                <a:gd name="connsiteX49" fmla="*/ 1217 w 10000"/>
                <a:gd name="connsiteY49" fmla="*/ 10000 h 10000"/>
                <a:gd name="connsiteX50" fmla="*/ 646 w 10000"/>
                <a:gd name="connsiteY50" fmla="*/ 10000 h 10000"/>
                <a:gd name="connsiteX51" fmla="*/ 520 w 10000"/>
                <a:gd name="connsiteY51" fmla="*/ 9840 h 10000"/>
                <a:gd name="connsiteX52" fmla="*/ 506 w 10000"/>
                <a:gd name="connsiteY52" fmla="*/ 9539 h 10000"/>
                <a:gd name="connsiteX53" fmla="*/ 395 w 10000"/>
                <a:gd name="connsiteY53" fmla="*/ 8016 h 10000"/>
                <a:gd name="connsiteX54" fmla="*/ 372 w 10000"/>
                <a:gd name="connsiteY54" fmla="*/ 6844 h 10000"/>
                <a:gd name="connsiteX55" fmla="*/ 520 w 10000"/>
                <a:gd name="connsiteY55" fmla="*/ 5493 h 10000"/>
                <a:gd name="connsiteX56" fmla="*/ 306 w 10000"/>
                <a:gd name="connsiteY56" fmla="*/ 3937 h 10000"/>
                <a:gd name="connsiteX57" fmla="*/ 276 w 10000"/>
                <a:gd name="connsiteY57" fmla="*/ 3945 h 10000"/>
                <a:gd name="connsiteX58" fmla="*/ 367 w 10000"/>
                <a:gd name="connsiteY58" fmla="*/ 4968 h 10000"/>
                <a:gd name="connsiteX59" fmla="*/ 254 w 10000"/>
                <a:gd name="connsiteY59" fmla="*/ 5702 h 10000"/>
                <a:gd name="connsiteX60" fmla="*/ 118 w 10000"/>
                <a:gd name="connsiteY60" fmla="*/ 5926 h 10000"/>
                <a:gd name="connsiteX61" fmla="*/ 25 w 10000"/>
                <a:gd name="connsiteY61" fmla="*/ 5894 h 10000"/>
                <a:gd name="connsiteX62" fmla="*/ 0 w 10000"/>
                <a:gd name="connsiteY62" fmla="*/ 5108 h 10000"/>
                <a:gd name="connsiteX63" fmla="*/ 0 w 10000"/>
                <a:gd name="connsiteY63" fmla="*/ 5108 h 10000"/>
                <a:gd name="connsiteX64" fmla="*/ 85 w 10000"/>
                <a:gd name="connsiteY64" fmla="*/ 4322 h 10000"/>
                <a:gd name="connsiteX65" fmla="*/ 109 w 10000"/>
                <a:gd name="connsiteY65" fmla="*/ 3476 h 10000"/>
                <a:gd name="connsiteX66" fmla="*/ 246 w 10000"/>
                <a:gd name="connsiteY66" fmla="*/ 2302 h 10000"/>
                <a:gd name="connsiteX67" fmla="*/ 517 w 10000"/>
                <a:gd name="connsiteY67" fmla="*/ 1804 h 10000"/>
                <a:gd name="connsiteX68" fmla="*/ 881 w 10000"/>
                <a:gd name="connsiteY68" fmla="*/ 1576 h 10000"/>
                <a:gd name="connsiteX69" fmla="*/ 4264 w 10000"/>
                <a:gd name="connsiteY69" fmla="*/ 1712 h 10000"/>
                <a:gd name="connsiteX70" fmla="*/ 5955 w 10000"/>
                <a:gd name="connsiteY70" fmla="*/ 1523 h 10000"/>
                <a:gd name="connsiteX71" fmla="*/ 7536 w 10000"/>
                <a:gd name="connsiteY71" fmla="*/ 1195 h 10000"/>
                <a:gd name="connsiteX72" fmla="*/ 7571 w 10000"/>
                <a:gd name="connsiteY72" fmla="*/ 958 h 10000"/>
                <a:gd name="connsiteX73" fmla="*/ 7292 w 10000"/>
                <a:gd name="connsiteY73" fmla="*/ 509 h 10000"/>
                <a:gd name="connsiteX74" fmla="*/ 7289 w 10000"/>
                <a:gd name="connsiteY74" fmla="*/ 257 h 10000"/>
                <a:gd name="connsiteX75" fmla="*/ 7445 w 10000"/>
                <a:gd name="connsiteY75" fmla="*/ 209 h 10000"/>
                <a:gd name="connsiteX76" fmla="*/ 7875 w 10000"/>
                <a:gd name="connsiteY76" fmla="*/ 597 h 10000"/>
                <a:gd name="connsiteX77" fmla="*/ 8580 w 10000"/>
                <a:gd name="connsiteY77" fmla="*/ 593 h 10000"/>
                <a:gd name="connsiteX78" fmla="*/ 9144 w 10000"/>
                <a:gd name="connsiteY78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441 w 10000"/>
                <a:gd name="connsiteY44" fmla="*/ 8076 h 10000"/>
                <a:gd name="connsiteX45" fmla="*/ 1275 w 10000"/>
                <a:gd name="connsiteY45" fmla="*/ 7153 h 10000"/>
                <a:gd name="connsiteX46" fmla="*/ 1143 w 10000"/>
                <a:gd name="connsiteY46" fmla="*/ 7153 h 10000"/>
                <a:gd name="connsiteX47" fmla="*/ 892 w 10000"/>
                <a:gd name="connsiteY47" fmla="*/ 8701 h 10000"/>
                <a:gd name="connsiteX48" fmla="*/ 1398 w 10000"/>
                <a:gd name="connsiteY48" fmla="*/ 9920 h 10000"/>
                <a:gd name="connsiteX49" fmla="*/ 1217 w 10000"/>
                <a:gd name="connsiteY49" fmla="*/ 10000 h 10000"/>
                <a:gd name="connsiteX50" fmla="*/ 646 w 10000"/>
                <a:gd name="connsiteY50" fmla="*/ 10000 h 10000"/>
                <a:gd name="connsiteX51" fmla="*/ 520 w 10000"/>
                <a:gd name="connsiteY51" fmla="*/ 9840 h 10000"/>
                <a:gd name="connsiteX52" fmla="*/ 506 w 10000"/>
                <a:gd name="connsiteY52" fmla="*/ 9539 h 10000"/>
                <a:gd name="connsiteX53" fmla="*/ 395 w 10000"/>
                <a:gd name="connsiteY53" fmla="*/ 8016 h 10000"/>
                <a:gd name="connsiteX54" fmla="*/ 372 w 10000"/>
                <a:gd name="connsiteY54" fmla="*/ 6844 h 10000"/>
                <a:gd name="connsiteX55" fmla="*/ 520 w 10000"/>
                <a:gd name="connsiteY55" fmla="*/ 5493 h 10000"/>
                <a:gd name="connsiteX56" fmla="*/ 306 w 10000"/>
                <a:gd name="connsiteY56" fmla="*/ 3937 h 10000"/>
                <a:gd name="connsiteX57" fmla="*/ 276 w 10000"/>
                <a:gd name="connsiteY57" fmla="*/ 3945 h 10000"/>
                <a:gd name="connsiteX58" fmla="*/ 367 w 10000"/>
                <a:gd name="connsiteY58" fmla="*/ 4968 h 10000"/>
                <a:gd name="connsiteX59" fmla="*/ 254 w 10000"/>
                <a:gd name="connsiteY59" fmla="*/ 5702 h 10000"/>
                <a:gd name="connsiteX60" fmla="*/ 118 w 10000"/>
                <a:gd name="connsiteY60" fmla="*/ 5926 h 10000"/>
                <a:gd name="connsiteX61" fmla="*/ 25 w 10000"/>
                <a:gd name="connsiteY61" fmla="*/ 5894 h 10000"/>
                <a:gd name="connsiteX62" fmla="*/ 0 w 10000"/>
                <a:gd name="connsiteY62" fmla="*/ 5108 h 10000"/>
                <a:gd name="connsiteX63" fmla="*/ 0 w 10000"/>
                <a:gd name="connsiteY63" fmla="*/ 5108 h 10000"/>
                <a:gd name="connsiteX64" fmla="*/ 85 w 10000"/>
                <a:gd name="connsiteY64" fmla="*/ 4322 h 10000"/>
                <a:gd name="connsiteX65" fmla="*/ 109 w 10000"/>
                <a:gd name="connsiteY65" fmla="*/ 3476 h 10000"/>
                <a:gd name="connsiteX66" fmla="*/ 246 w 10000"/>
                <a:gd name="connsiteY66" fmla="*/ 2302 h 10000"/>
                <a:gd name="connsiteX67" fmla="*/ 517 w 10000"/>
                <a:gd name="connsiteY67" fmla="*/ 1804 h 10000"/>
                <a:gd name="connsiteX68" fmla="*/ 881 w 10000"/>
                <a:gd name="connsiteY68" fmla="*/ 1576 h 10000"/>
                <a:gd name="connsiteX69" fmla="*/ 2529 w 10000"/>
                <a:gd name="connsiteY69" fmla="*/ 1643 h 10000"/>
                <a:gd name="connsiteX70" fmla="*/ 4264 w 10000"/>
                <a:gd name="connsiteY70" fmla="*/ 1712 h 10000"/>
                <a:gd name="connsiteX71" fmla="*/ 5955 w 10000"/>
                <a:gd name="connsiteY71" fmla="*/ 1523 h 10000"/>
                <a:gd name="connsiteX72" fmla="*/ 7536 w 10000"/>
                <a:gd name="connsiteY72" fmla="*/ 1195 h 10000"/>
                <a:gd name="connsiteX73" fmla="*/ 7571 w 10000"/>
                <a:gd name="connsiteY73" fmla="*/ 958 h 10000"/>
                <a:gd name="connsiteX74" fmla="*/ 7292 w 10000"/>
                <a:gd name="connsiteY74" fmla="*/ 509 h 10000"/>
                <a:gd name="connsiteX75" fmla="*/ 7289 w 10000"/>
                <a:gd name="connsiteY75" fmla="*/ 257 h 10000"/>
                <a:gd name="connsiteX76" fmla="*/ 7445 w 10000"/>
                <a:gd name="connsiteY76" fmla="*/ 209 h 10000"/>
                <a:gd name="connsiteX77" fmla="*/ 7875 w 10000"/>
                <a:gd name="connsiteY77" fmla="*/ 597 h 10000"/>
                <a:gd name="connsiteX78" fmla="*/ 8580 w 10000"/>
                <a:gd name="connsiteY78" fmla="*/ 593 h 10000"/>
                <a:gd name="connsiteX79" fmla="*/ 9144 w 10000"/>
                <a:gd name="connsiteY79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441 w 10000"/>
                <a:gd name="connsiteY44" fmla="*/ 8076 h 10000"/>
                <a:gd name="connsiteX45" fmla="*/ 1275 w 10000"/>
                <a:gd name="connsiteY45" fmla="*/ 7153 h 10000"/>
                <a:gd name="connsiteX46" fmla="*/ 1143 w 10000"/>
                <a:gd name="connsiteY46" fmla="*/ 7153 h 10000"/>
                <a:gd name="connsiteX47" fmla="*/ 892 w 10000"/>
                <a:gd name="connsiteY47" fmla="*/ 8701 h 10000"/>
                <a:gd name="connsiteX48" fmla="*/ 1398 w 10000"/>
                <a:gd name="connsiteY48" fmla="*/ 9920 h 10000"/>
                <a:gd name="connsiteX49" fmla="*/ 1217 w 10000"/>
                <a:gd name="connsiteY49" fmla="*/ 10000 h 10000"/>
                <a:gd name="connsiteX50" fmla="*/ 646 w 10000"/>
                <a:gd name="connsiteY50" fmla="*/ 10000 h 10000"/>
                <a:gd name="connsiteX51" fmla="*/ 520 w 10000"/>
                <a:gd name="connsiteY51" fmla="*/ 9840 h 10000"/>
                <a:gd name="connsiteX52" fmla="*/ 506 w 10000"/>
                <a:gd name="connsiteY52" fmla="*/ 9539 h 10000"/>
                <a:gd name="connsiteX53" fmla="*/ 395 w 10000"/>
                <a:gd name="connsiteY53" fmla="*/ 8016 h 10000"/>
                <a:gd name="connsiteX54" fmla="*/ 372 w 10000"/>
                <a:gd name="connsiteY54" fmla="*/ 6844 h 10000"/>
                <a:gd name="connsiteX55" fmla="*/ 520 w 10000"/>
                <a:gd name="connsiteY55" fmla="*/ 5493 h 10000"/>
                <a:gd name="connsiteX56" fmla="*/ 306 w 10000"/>
                <a:gd name="connsiteY56" fmla="*/ 3937 h 10000"/>
                <a:gd name="connsiteX57" fmla="*/ 276 w 10000"/>
                <a:gd name="connsiteY57" fmla="*/ 3945 h 10000"/>
                <a:gd name="connsiteX58" fmla="*/ 367 w 10000"/>
                <a:gd name="connsiteY58" fmla="*/ 4968 h 10000"/>
                <a:gd name="connsiteX59" fmla="*/ 254 w 10000"/>
                <a:gd name="connsiteY59" fmla="*/ 5702 h 10000"/>
                <a:gd name="connsiteX60" fmla="*/ 118 w 10000"/>
                <a:gd name="connsiteY60" fmla="*/ 5926 h 10000"/>
                <a:gd name="connsiteX61" fmla="*/ 25 w 10000"/>
                <a:gd name="connsiteY61" fmla="*/ 5894 h 10000"/>
                <a:gd name="connsiteX62" fmla="*/ 0 w 10000"/>
                <a:gd name="connsiteY62" fmla="*/ 5108 h 10000"/>
                <a:gd name="connsiteX63" fmla="*/ 0 w 10000"/>
                <a:gd name="connsiteY63" fmla="*/ 5108 h 10000"/>
                <a:gd name="connsiteX64" fmla="*/ 85 w 10000"/>
                <a:gd name="connsiteY64" fmla="*/ 4322 h 10000"/>
                <a:gd name="connsiteX65" fmla="*/ 109 w 10000"/>
                <a:gd name="connsiteY65" fmla="*/ 3476 h 10000"/>
                <a:gd name="connsiteX66" fmla="*/ 246 w 10000"/>
                <a:gd name="connsiteY66" fmla="*/ 2302 h 10000"/>
                <a:gd name="connsiteX67" fmla="*/ 517 w 10000"/>
                <a:gd name="connsiteY67" fmla="*/ 1804 h 10000"/>
                <a:gd name="connsiteX68" fmla="*/ 881 w 10000"/>
                <a:gd name="connsiteY68" fmla="*/ 1576 h 10000"/>
                <a:gd name="connsiteX69" fmla="*/ 2529 w 10000"/>
                <a:gd name="connsiteY69" fmla="*/ 1643 h 10000"/>
                <a:gd name="connsiteX70" fmla="*/ 4264 w 10000"/>
                <a:gd name="connsiteY70" fmla="*/ 1712 h 10000"/>
                <a:gd name="connsiteX71" fmla="*/ 5955 w 10000"/>
                <a:gd name="connsiteY71" fmla="*/ 1523 h 10000"/>
                <a:gd name="connsiteX72" fmla="*/ 7536 w 10000"/>
                <a:gd name="connsiteY72" fmla="*/ 1195 h 10000"/>
                <a:gd name="connsiteX73" fmla="*/ 7571 w 10000"/>
                <a:gd name="connsiteY73" fmla="*/ 958 h 10000"/>
                <a:gd name="connsiteX74" fmla="*/ 7292 w 10000"/>
                <a:gd name="connsiteY74" fmla="*/ 509 h 10000"/>
                <a:gd name="connsiteX75" fmla="*/ 7289 w 10000"/>
                <a:gd name="connsiteY75" fmla="*/ 257 h 10000"/>
                <a:gd name="connsiteX76" fmla="*/ 7568 w 10000"/>
                <a:gd name="connsiteY76" fmla="*/ 149 h 10000"/>
                <a:gd name="connsiteX77" fmla="*/ 7875 w 10000"/>
                <a:gd name="connsiteY77" fmla="*/ 597 h 10000"/>
                <a:gd name="connsiteX78" fmla="*/ 8580 w 10000"/>
                <a:gd name="connsiteY78" fmla="*/ 593 h 10000"/>
                <a:gd name="connsiteX79" fmla="*/ 9144 w 10000"/>
                <a:gd name="connsiteY79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441 w 10000"/>
                <a:gd name="connsiteY44" fmla="*/ 8076 h 10000"/>
                <a:gd name="connsiteX45" fmla="*/ 1275 w 10000"/>
                <a:gd name="connsiteY45" fmla="*/ 7153 h 10000"/>
                <a:gd name="connsiteX46" fmla="*/ 1143 w 10000"/>
                <a:gd name="connsiteY46" fmla="*/ 7153 h 10000"/>
                <a:gd name="connsiteX47" fmla="*/ 892 w 10000"/>
                <a:gd name="connsiteY47" fmla="*/ 8701 h 10000"/>
                <a:gd name="connsiteX48" fmla="*/ 1398 w 10000"/>
                <a:gd name="connsiteY48" fmla="*/ 9920 h 10000"/>
                <a:gd name="connsiteX49" fmla="*/ 1217 w 10000"/>
                <a:gd name="connsiteY49" fmla="*/ 10000 h 10000"/>
                <a:gd name="connsiteX50" fmla="*/ 646 w 10000"/>
                <a:gd name="connsiteY50" fmla="*/ 10000 h 10000"/>
                <a:gd name="connsiteX51" fmla="*/ 520 w 10000"/>
                <a:gd name="connsiteY51" fmla="*/ 9840 h 10000"/>
                <a:gd name="connsiteX52" fmla="*/ 506 w 10000"/>
                <a:gd name="connsiteY52" fmla="*/ 9539 h 10000"/>
                <a:gd name="connsiteX53" fmla="*/ 395 w 10000"/>
                <a:gd name="connsiteY53" fmla="*/ 8016 h 10000"/>
                <a:gd name="connsiteX54" fmla="*/ 372 w 10000"/>
                <a:gd name="connsiteY54" fmla="*/ 6844 h 10000"/>
                <a:gd name="connsiteX55" fmla="*/ 520 w 10000"/>
                <a:gd name="connsiteY55" fmla="*/ 5493 h 10000"/>
                <a:gd name="connsiteX56" fmla="*/ 306 w 10000"/>
                <a:gd name="connsiteY56" fmla="*/ 3937 h 10000"/>
                <a:gd name="connsiteX57" fmla="*/ 276 w 10000"/>
                <a:gd name="connsiteY57" fmla="*/ 3945 h 10000"/>
                <a:gd name="connsiteX58" fmla="*/ 367 w 10000"/>
                <a:gd name="connsiteY58" fmla="*/ 4968 h 10000"/>
                <a:gd name="connsiteX59" fmla="*/ 254 w 10000"/>
                <a:gd name="connsiteY59" fmla="*/ 5702 h 10000"/>
                <a:gd name="connsiteX60" fmla="*/ 118 w 10000"/>
                <a:gd name="connsiteY60" fmla="*/ 5926 h 10000"/>
                <a:gd name="connsiteX61" fmla="*/ 25 w 10000"/>
                <a:gd name="connsiteY61" fmla="*/ 5894 h 10000"/>
                <a:gd name="connsiteX62" fmla="*/ 0 w 10000"/>
                <a:gd name="connsiteY62" fmla="*/ 5108 h 10000"/>
                <a:gd name="connsiteX63" fmla="*/ 0 w 10000"/>
                <a:gd name="connsiteY63" fmla="*/ 5108 h 10000"/>
                <a:gd name="connsiteX64" fmla="*/ 85 w 10000"/>
                <a:gd name="connsiteY64" fmla="*/ 4322 h 10000"/>
                <a:gd name="connsiteX65" fmla="*/ 109 w 10000"/>
                <a:gd name="connsiteY65" fmla="*/ 3476 h 10000"/>
                <a:gd name="connsiteX66" fmla="*/ 246 w 10000"/>
                <a:gd name="connsiteY66" fmla="*/ 2302 h 10000"/>
                <a:gd name="connsiteX67" fmla="*/ 517 w 10000"/>
                <a:gd name="connsiteY67" fmla="*/ 1804 h 10000"/>
                <a:gd name="connsiteX68" fmla="*/ 881 w 10000"/>
                <a:gd name="connsiteY68" fmla="*/ 1576 h 10000"/>
                <a:gd name="connsiteX69" fmla="*/ 2529 w 10000"/>
                <a:gd name="connsiteY69" fmla="*/ 1643 h 10000"/>
                <a:gd name="connsiteX70" fmla="*/ 4264 w 10000"/>
                <a:gd name="connsiteY70" fmla="*/ 1712 h 10000"/>
                <a:gd name="connsiteX71" fmla="*/ 5955 w 10000"/>
                <a:gd name="connsiteY71" fmla="*/ 1523 h 10000"/>
                <a:gd name="connsiteX72" fmla="*/ 7536 w 10000"/>
                <a:gd name="connsiteY72" fmla="*/ 1195 h 10000"/>
                <a:gd name="connsiteX73" fmla="*/ 7571 w 10000"/>
                <a:gd name="connsiteY73" fmla="*/ 958 h 10000"/>
                <a:gd name="connsiteX74" fmla="*/ 7374 w 10000"/>
                <a:gd name="connsiteY74" fmla="*/ 449 h 10000"/>
                <a:gd name="connsiteX75" fmla="*/ 7289 w 10000"/>
                <a:gd name="connsiteY75" fmla="*/ 257 h 10000"/>
                <a:gd name="connsiteX76" fmla="*/ 7568 w 10000"/>
                <a:gd name="connsiteY76" fmla="*/ 149 h 10000"/>
                <a:gd name="connsiteX77" fmla="*/ 7875 w 10000"/>
                <a:gd name="connsiteY77" fmla="*/ 597 h 10000"/>
                <a:gd name="connsiteX78" fmla="*/ 8580 w 10000"/>
                <a:gd name="connsiteY78" fmla="*/ 593 h 10000"/>
                <a:gd name="connsiteX79" fmla="*/ 9144 w 10000"/>
                <a:gd name="connsiteY79" fmla="*/ 0 h 10000"/>
                <a:gd name="connsiteX0" fmla="*/ 9144 w 10000"/>
                <a:gd name="connsiteY0" fmla="*/ 0 h 10000"/>
                <a:gd name="connsiteX1" fmla="*/ 9363 w 10000"/>
                <a:gd name="connsiteY1" fmla="*/ 20 h 10000"/>
                <a:gd name="connsiteX2" fmla="*/ 9335 w 10000"/>
                <a:gd name="connsiteY2" fmla="*/ 361 h 10000"/>
                <a:gd name="connsiteX3" fmla="*/ 8865 w 10000"/>
                <a:gd name="connsiteY3" fmla="*/ 798 h 10000"/>
                <a:gd name="connsiteX4" fmla="*/ 9945 w 10000"/>
                <a:gd name="connsiteY4" fmla="*/ 2454 h 10000"/>
                <a:gd name="connsiteX5" fmla="*/ 10000 w 10000"/>
                <a:gd name="connsiteY5" fmla="*/ 2654 h 10000"/>
                <a:gd name="connsiteX6" fmla="*/ 9882 w 10000"/>
                <a:gd name="connsiteY6" fmla="*/ 3144 h 10000"/>
                <a:gd name="connsiteX7" fmla="*/ 9811 w 10000"/>
                <a:gd name="connsiteY7" fmla="*/ 3256 h 10000"/>
                <a:gd name="connsiteX8" fmla="*/ 8974 w 10000"/>
                <a:gd name="connsiteY8" fmla="*/ 3396 h 10000"/>
                <a:gd name="connsiteX9" fmla="*/ 8061 w 10000"/>
                <a:gd name="connsiteY9" fmla="*/ 4018 h 10000"/>
                <a:gd name="connsiteX10" fmla="*/ 7391 w 10000"/>
                <a:gd name="connsiteY10" fmla="*/ 6029 h 10000"/>
                <a:gd name="connsiteX11" fmla="*/ 6726 w 10000"/>
                <a:gd name="connsiteY11" fmla="*/ 6768 h 10000"/>
                <a:gd name="connsiteX12" fmla="*/ 6614 w 10000"/>
                <a:gd name="connsiteY12" fmla="*/ 8232 h 10000"/>
                <a:gd name="connsiteX13" fmla="*/ 7098 w 10000"/>
                <a:gd name="connsiteY13" fmla="*/ 9627 h 10000"/>
                <a:gd name="connsiteX14" fmla="*/ 7251 w 10000"/>
                <a:gd name="connsiteY14" fmla="*/ 9832 h 10000"/>
                <a:gd name="connsiteX15" fmla="*/ 7205 w 10000"/>
                <a:gd name="connsiteY15" fmla="*/ 10000 h 10000"/>
                <a:gd name="connsiteX16" fmla="*/ 6879 w 10000"/>
                <a:gd name="connsiteY16" fmla="*/ 9970 h 10000"/>
                <a:gd name="connsiteX17" fmla="*/ 6693 w 10000"/>
                <a:gd name="connsiteY17" fmla="*/ 10000 h 10000"/>
                <a:gd name="connsiteX18" fmla="*/ 6578 w 10000"/>
                <a:gd name="connsiteY18" fmla="*/ 9872 h 10000"/>
                <a:gd name="connsiteX19" fmla="*/ 6324 w 10000"/>
                <a:gd name="connsiteY19" fmla="*/ 8697 h 10000"/>
                <a:gd name="connsiteX20" fmla="*/ 6127 w 10000"/>
                <a:gd name="connsiteY20" fmla="*/ 7791 h 10000"/>
                <a:gd name="connsiteX21" fmla="*/ 5935 w 10000"/>
                <a:gd name="connsiteY21" fmla="*/ 7638 h 10000"/>
                <a:gd name="connsiteX22" fmla="*/ 5979 w 10000"/>
                <a:gd name="connsiteY22" fmla="*/ 9002 h 10000"/>
                <a:gd name="connsiteX23" fmla="*/ 6329 w 10000"/>
                <a:gd name="connsiteY23" fmla="*/ 9715 h 10000"/>
                <a:gd name="connsiteX24" fmla="*/ 6266 w 10000"/>
                <a:gd name="connsiteY24" fmla="*/ 9848 h 10000"/>
                <a:gd name="connsiteX25" fmla="*/ 5695 w 10000"/>
                <a:gd name="connsiteY25" fmla="*/ 9848 h 10000"/>
                <a:gd name="connsiteX26" fmla="*/ 5566 w 10000"/>
                <a:gd name="connsiteY26" fmla="*/ 9491 h 10000"/>
                <a:gd name="connsiteX27" fmla="*/ 5328 w 10000"/>
                <a:gd name="connsiteY27" fmla="*/ 7001 h 10000"/>
                <a:gd name="connsiteX28" fmla="*/ 4921 w 10000"/>
                <a:gd name="connsiteY28" fmla="*/ 6552 h 10000"/>
                <a:gd name="connsiteX29" fmla="*/ 3359 w 10000"/>
                <a:gd name="connsiteY29" fmla="*/ 6728 h 10000"/>
                <a:gd name="connsiteX30" fmla="*/ 2883 w 10000"/>
                <a:gd name="connsiteY30" fmla="*/ 7269 h 10000"/>
                <a:gd name="connsiteX31" fmla="*/ 2722 w 10000"/>
                <a:gd name="connsiteY31" fmla="*/ 7787 h 10000"/>
                <a:gd name="connsiteX32" fmla="*/ 2530 w 10000"/>
                <a:gd name="connsiteY32" fmla="*/ 7310 h 10000"/>
                <a:gd name="connsiteX33" fmla="*/ 2333 w 10000"/>
                <a:gd name="connsiteY33" fmla="*/ 7787 h 10000"/>
                <a:gd name="connsiteX34" fmla="*/ 2196 w 10000"/>
                <a:gd name="connsiteY34" fmla="*/ 7298 h 10000"/>
                <a:gd name="connsiteX35" fmla="*/ 1980 w 10000"/>
                <a:gd name="connsiteY35" fmla="*/ 7269 h 10000"/>
                <a:gd name="connsiteX36" fmla="*/ 1887 w 10000"/>
                <a:gd name="connsiteY36" fmla="*/ 7538 h 10000"/>
                <a:gd name="connsiteX37" fmla="*/ 2077 w 10000"/>
                <a:gd name="connsiteY37" fmla="*/ 8317 h 10000"/>
                <a:gd name="connsiteX38" fmla="*/ 2257 w 10000"/>
                <a:gd name="connsiteY38" fmla="*/ 9206 h 10000"/>
                <a:gd name="connsiteX39" fmla="*/ 2801 w 10000"/>
                <a:gd name="connsiteY39" fmla="*/ 9695 h 10000"/>
                <a:gd name="connsiteX40" fmla="*/ 2719 w 10000"/>
                <a:gd name="connsiteY40" fmla="*/ 9848 h 10000"/>
                <a:gd name="connsiteX41" fmla="*/ 2092 w 10000"/>
                <a:gd name="connsiteY41" fmla="*/ 9844 h 10000"/>
                <a:gd name="connsiteX42" fmla="*/ 1975 w 10000"/>
                <a:gd name="connsiteY42" fmla="*/ 9739 h 10000"/>
                <a:gd name="connsiteX43" fmla="*/ 1734 w 10000"/>
                <a:gd name="connsiteY43" fmla="*/ 9210 h 10000"/>
                <a:gd name="connsiteX44" fmla="*/ 1441 w 10000"/>
                <a:gd name="connsiteY44" fmla="*/ 8076 h 10000"/>
                <a:gd name="connsiteX45" fmla="*/ 1275 w 10000"/>
                <a:gd name="connsiteY45" fmla="*/ 7153 h 10000"/>
                <a:gd name="connsiteX46" fmla="*/ 1143 w 10000"/>
                <a:gd name="connsiteY46" fmla="*/ 7153 h 10000"/>
                <a:gd name="connsiteX47" fmla="*/ 892 w 10000"/>
                <a:gd name="connsiteY47" fmla="*/ 8701 h 10000"/>
                <a:gd name="connsiteX48" fmla="*/ 1398 w 10000"/>
                <a:gd name="connsiteY48" fmla="*/ 9920 h 10000"/>
                <a:gd name="connsiteX49" fmla="*/ 1217 w 10000"/>
                <a:gd name="connsiteY49" fmla="*/ 10000 h 10000"/>
                <a:gd name="connsiteX50" fmla="*/ 646 w 10000"/>
                <a:gd name="connsiteY50" fmla="*/ 10000 h 10000"/>
                <a:gd name="connsiteX51" fmla="*/ 520 w 10000"/>
                <a:gd name="connsiteY51" fmla="*/ 9840 h 10000"/>
                <a:gd name="connsiteX52" fmla="*/ 506 w 10000"/>
                <a:gd name="connsiteY52" fmla="*/ 9539 h 10000"/>
                <a:gd name="connsiteX53" fmla="*/ 395 w 10000"/>
                <a:gd name="connsiteY53" fmla="*/ 8016 h 10000"/>
                <a:gd name="connsiteX54" fmla="*/ 372 w 10000"/>
                <a:gd name="connsiteY54" fmla="*/ 6844 h 10000"/>
                <a:gd name="connsiteX55" fmla="*/ 520 w 10000"/>
                <a:gd name="connsiteY55" fmla="*/ 5493 h 10000"/>
                <a:gd name="connsiteX56" fmla="*/ 306 w 10000"/>
                <a:gd name="connsiteY56" fmla="*/ 3937 h 10000"/>
                <a:gd name="connsiteX57" fmla="*/ 276 w 10000"/>
                <a:gd name="connsiteY57" fmla="*/ 3945 h 10000"/>
                <a:gd name="connsiteX58" fmla="*/ 367 w 10000"/>
                <a:gd name="connsiteY58" fmla="*/ 4968 h 10000"/>
                <a:gd name="connsiteX59" fmla="*/ 254 w 10000"/>
                <a:gd name="connsiteY59" fmla="*/ 5702 h 10000"/>
                <a:gd name="connsiteX60" fmla="*/ 118 w 10000"/>
                <a:gd name="connsiteY60" fmla="*/ 5926 h 10000"/>
                <a:gd name="connsiteX61" fmla="*/ 25 w 10000"/>
                <a:gd name="connsiteY61" fmla="*/ 5894 h 10000"/>
                <a:gd name="connsiteX62" fmla="*/ 0 w 10000"/>
                <a:gd name="connsiteY62" fmla="*/ 5108 h 10000"/>
                <a:gd name="connsiteX63" fmla="*/ 0 w 10000"/>
                <a:gd name="connsiteY63" fmla="*/ 5108 h 10000"/>
                <a:gd name="connsiteX64" fmla="*/ 85 w 10000"/>
                <a:gd name="connsiteY64" fmla="*/ 4322 h 10000"/>
                <a:gd name="connsiteX65" fmla="*/ 109 w 10000"/>
                <a:gd name="connsiteY65" fmla="*/ 3476 h 10000"/>
                <a:gd name="connsiteX66" fmla="*/ 246 w 10000"/>
                <a:gd name="connsiteY66" fmla="*/ 2302 h 10000"/>
                <a:gd name="connsiteX67" fmla="*/ 517 w 10000"/>
                <a:gd name="connsiteY67" fmla="*/ 1804 h 10000"/>
                <a:gd name="connsiteX68" fmla="*/ 881 w 10000"/>
                <a:gd name="connsiteY68" fmla="*/ 1576 h 10000"/>
                <a:gd name="connsiteX69" fmla="*/ 2529 w 10000"/>
                <a:gd name="connsiteY69" fmla="*/ 1643 h 10000"/>
                <a:gd name="connsiteX70" fmla="*/ 4264 w 10000"/>
                <a:gd name="connsiteY70" fmla="*/ 1712 h 10000"/>
                <a:gd name="connsiteX71" fmla="*/ 5955 w 10000"/>
                <a:gd name="connsiteY71" fmla="*/ 1523 h 10000"/>
                <a:gd name="connsiteX72" fmla="*/ 7536 w 10000"/>
                <a:gd name="connsiteY72" fmla="*/ 1195 h 10000"/>
                <a:gd name="connsiteX73" fmla="*/ 7571 w 10000"/>
                <a:gd name="connsiteY73" fmla="*/ 958 h 10000"/>
                <a:gd name="connsiteX74" fmla="*/ 7374 w 10000"/>
                <a:gd name="connsiteY74" fmla="*/ 449 h 10000"/>
                <a:gd name="connsiteX75" fmla="*/ 7371 w 10000"/>
                <a:gd name="connsiteY75" fmla="*/ 137 h 10000"/>
                <a:gd name="connsiteX76" fmla="*/ 7568 w 10000"/>
                <a:gd name="connsiteY76" fmla="*/ 149 h 10000"/>
                <a:gd name="connsiteX77" fmla="*/ 7875 w 10000"/>
                <a:gd name="connsiteY77" fmla="*/ 597 h 10000"/>
                <a:gd name="connsiteX78" fmla="*/ 8580 w 10000"/>
                <a:gd name="connsiteY78" fmla="*/ 593 h 10000"/>
                <a:gd name="connsiteX79" fmla="*/ 9144 w 10000"/>
                <a:gd name="connsiteY79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10000" h="10000">
                  <a:moveTo>
                    <a:pt x="9144" y="0"/>
                  </a:moveTo>
                  <a:lnTo>
                    <a:pt x="9363" y="20"/>
                  </a:lnTo>
                  <a:cubicBezTo>
                    <a:pt x="9354" y="134"/>
                    <a:pt x="9344" y="247"/>
                    <a:pt x="9335" y="361"/>
                  </a:cubicBezTo>
                  <a:lnTo>
                    <a:pt x="8865" y="798"/>
                  </a:lnTo>
                  <a:lnTo>
                    <a:pt x="9945" y="2454"/>
                  </a:lnTo>
                  <a:cubicBezTo>
                    <a:pt x="9963" y="2521"/>
                    <a:pt x="9982" y="2587"/>
                    <a:pt x="10000" y="2654"/>
                  </a:cubicBezTo>
                  <a:cubicBezTo>
                    <a:pt x="9961" y="2817"/>
                    <a:pt x="9921" y="2981"/>
                    <a:pt x="9882" y="3144"/>
                  </a:cubicBezTo>
                  <a:cubicBezTo>
                    <a:pt x="9858" y="3181"/>
                    <a:pt x="9835" y="3219"/>
                    <a:pt x="9811" y="3256"/>
                  </a:cubicBezTo>
                  <a:lnTo>
                    <a:pt x="8974" y="3396"/>
                  </a:lnTo>
                  <a:lnTo>
                    <a:pt x="8061" y="4018"/>
                  </a:lnTo>
                  <a:lnTo>
                    <a:pt x="7391" y="6029"/>
                  </a:lnTo>
                  <a:lnTo>
                    <a:pt x="6726" y="6768"/>
                  </a:lnTo>
                  <a:cubicBezTo>
                    <a:pt x="6689" y="7256"/>
                    <a:pt x="6651" y="7744"/>
                    <a:pt x="6614" y="8232"/>
                  </a:cubicBezTo>
                  <a:lnTo>
                    <a:pt x="7098" y="9627"/>
                  </a:lnTo>
                  <a:lnTo>
                    <a:pt x="7251" y="9832"/>
                  </a:lnTo>
                  <a:cubicBezTo>
                    <a:pt x="7236" y="9888"/>
                    <a:pt x="7220" y="9944"/>
                    <a:pt x="7205" y="10000"/>
                  </a:cubicBezTo>
                  <a:lnTo>
                    <a:pt x="6879" y="9970"/>
                  </a:lnTo>
                  <a:lnTo>
                    <a:pt x="6693" y="10000"/>
                  </a:lnTo>
                  <a:cubicBezTo>
                    <a:pt x="6655" y="9957"/>
                    <a:pt x="6616" y="9915"/>
                    <a:pt x="6578" y="9872"/>
                  </a:cubicBezTo>
                  <a:cubicBezTo>
                    <a:pt x="6493" y="9480"/>
                    <a:pt x="6409" y="9089"/>
                    <a:pt x="6324" y="8697"/>
                  </a:cubicBezTo>
                  <a:cubicBezTo>
                    <a:pt x="6258" y="8395"/>
                    <a:pt x="6193" y="8093"/>
                    <a:pt x="6127" y="7791"/>
                  </a:cubicBezTo>
                  <a:lnTo>
                    <a:pt x="5935" y="7638"/>
                  </a:lnTo>
                  <a:cubicBezTo>
                    <a:pt x="5950" y="8093"/>
                    <a:pt x="5964" y="8547"/>
                    <a:pt x="5979" y="9002"/>
                  </a:cubicBezTo>
                  <a:lnTo>
                    <a:pt x="6329" y="9715"/>
                  </a:lnTo>
                  <a:cubicBezTo>
                    <a:pt x="6308" y="9759"/>
                    <a:pt x="6287" y="9804"/>
                    <a:pt x="6266" y="9848"/>
                  </a:cubicBezTo>
                  <a:lnTo>
                    <a:pt x="5695" y="9848"/>
                  </a:lnTo>
                  <a:lnTo>
                    <a:pt x="5566" y="9491"/>
                  </a:lnTo>
                  <a:cubicBezTo>
                    <a:pt x="5487" y="8661"/>
                    <a:pt x="5407" y="7831"/>
                    <a:pt x="5328" y="7001"/>
                  </a:cubicBezTo>
                  <a:lnTo>
                    <a:pt x="4921" y="6552"/>
                  </a:lnTo>
                  <a:lnTo>
                    <a:pt x="3359" y="6728"/>
                  </a:lnTo>
                  <a:lnTo>
                    <a:pt x="2883" y="7269"/>
                  </a:lnTo>
                  <a:cubicBezTo>
                    <a:pt x="2829" y="7442"/>
                    <a:pt x="2776" y="7614"/>
                    <a:pt x="2722" y="7787"/>
                  </a:cubicBezTo>
                  <a:lnTo>
                    <a:pt x="2530" y="7310"/>
                  </a:lnTo>
                  <a:cubicBezTo>
                    <a:pt x="2464" y="7469"/>
                    <a:pt x="2399" y="7628"/>
                    <a:pt x="2333" y="7787"/>
                  </a:cubicBezTo>
                  <a:cubicBezTo>
                    <a:pt x="2287" y="7624"/>
                    <a:pt x="2242" y="7461"/>
                    <a:pt x="2196" y="7298"/>
                  </a:cubicBezTo>
                  <a:lnTo>
                    <a:pt x="1980" y="7269"/>
                  </a:lnTo>
                  <a:cubicBezTo>
                    <a:pt x="1949" y="7359"/>
                    <a:pt x="1918" y="7448"/>
                    <a:pt x="1887" y="7538"/>
                  </a:cubicBezTo>
                  <a:cubicBezTo>
                    <a:pt x="1903" y="7713"/>
                    <a:pt x="2015" y="8039"/>
                    <a:pt x="2077" y="8317"/>
                  </a:cubicBezTo>
                  <a:cubicBezTo>
                    <a:pt x="2139" y="8595"/>
                    <a:pt x="2136" y="8976"/>
                    <a:pt x="2257" y="9206"/>
                  </a:cubicBezTo>
                  <a:lnTo>
                    <a:pt x="2801" y="9695"/>
                  </a:lnTo>
                  <a:cubicBezTo>
                    <a:pt x="2774" y="9746"/>
                    <a:pt x="2746" y="9797"/>
                    <a:pt x="2719" y="9848"/>
                  </a:cubicBezTo>
                  <a:lnTo>
                    <a:pt x="2092" y="9844"/>
                  </a:lnTo>
                  <a:lnTo>
                    <a:pt x="1975" y="9739"/>
                  </a:lnTo>
                  <a:lnTo>
                    <a:pt x="1734" y="9210"/>
                  </a:lnTo>
                  <a:cubicBezTo>
                    <a:pt x="1636" y="8832"/>
                    <a:pt x="1539" y="8454"/>
                    <a:pt x="1441" y="8076"/>
                  </a:cubicBezTo>
                  <a:cubicBezTo>
                    <a:pt x="1386" y="7768"/>
                    <a:pt x="1330" y="7461"/>
                    <a:pt x="1275" y="7153"/>
                  </a:cubicBezTo>
                  <a:lnTo>
                    <a:pt x="1143" y="7153"/>
                  </a:lnTo>
                  <a:cubicBezTo>
                    <a:pt x="1059" y="7669"/>
                    <a:pt x="976" y="8185"/>
                    <a:pt x="892" y="8701"/>
                  </a:cubicBezTo>
                  <a:lnTo>
                    <a:pt x="1398" y="9920"/>
                  </a:lnTo>
                  <a:lnTo>
                    <a:pt x="1217" y="10000"/>
                  </a:lnTo>
                  <a:lnTo>
                    <a:pt x="646" y="10000"/>
                  </a:lnTo>
                  <a:lnTo>
                    <a:pt x="520" y="9840"/>
                  </a:lnTo>
                  <a:cubicBezTo>
                    <a:pt x="515" y="9740"/>
                    <a:pt x="511" y="9639"/>
                    <a:pt x="506" y="9539"/>
                  </a:cubicBezTo>
                  <a:cubicBezTo>
                    <a:pt x="485" y="9235"/>
                    <a:pt x="417" y="8465"/>
                    <a:pt x="395" y="8016"/>
                  </a:cubicBezTo>
                  <a:cubicBezTo>
                    <a:pt x="373" y="7567"/>
                    <a:pt x="351" y="7264"/>
                    <a:pt x="372" y="6844"/>
                  </a:cubicBezTo>
                  <a:cubicBezTo>
                    <a:pt x="421" y="6394"/>
                    <a:pt x="471" y="5943"/>
                    <a:pt x="520" y="5493"/>
                  </a:cubicBezTo>
                  <a:cubicBezTo>
                    <a:pt x="449" y="4974"/>
                    <a:pt x="377" y="4456"/>
                    <a:pt x="306" y="3937"/>
                  </a:cubicBezTo>
                  <a:cubicBezTo>
                    <a:pt x="296" y="3940"/>
                    <a:pt x="286" y="3942"/>
                    <a:pt x="276" y="3945"/>
                  </a:cubicBezTo>
                  <a:cubicBezTo>
                    <a:pt x="306" y="4286"/>
                    <a:pt x="337" y="4627"/>
                    <a:pt x="367" y="4968"/>
                  </a:cubicBezTo>
                  <a:cubicBezTo>
                    <a:pt x="329" y="5213"/>
                    <a:pt x="292" y="5457"/>
                    <a:pt x="254" y="5702"/>
                  </a:cubicBezTo>
                  <a:cubicBezTo>
                    <a:pt x="209" y="5777"/>
                    <a:pt x="163" y="5851"/>
                    <a:pt x="118" y="5926"/>
                  </a:cubicBezTo>
                  <a:cubicBezTo>
                    <a:pt x="87" y="5915"/>
                    <a:pt x="56" y="5905"/>
                    <a:pt x="25" y="5894"/>
                  </a:cubicBezTo>
                  <a:cubicBezTo>
                    <a:pt x="17" y="5632"/>
                    <a:pt x="8" y="5370"/>
                    <a:pt x="0" y="5108"/>
                  </a:cubicBezTo>
                  <a:lnTo>
                    <a:pt x="0" y="5108"/>
                  </a:lnTo>
                  <a:cubicBezTo>
                    <a:pt x="28" y="4846"/>
                    <a:pt x="57" y="4584"/>
                    <a:pt x="85" y="4322"/>
                  </a:cubicBezTo>
                  <a:lnTo>
                    <a:pt x="109" y="3476"/>
                  </a:lnTo>
                  <a:cubicBezTo>
                    <a:pt x="155" y="3085"/>
                    <a:pt x="200" y="2693"/>
                    <a:pt x="246" y="2302"/>
                  </a:cubicBezTo>
                  <a:lnTo>
                    <a:pt x="517" y="1804"/>
                  </a:lnTo>
                  <a:lnTo>
                    <a:pt x="881" y="1576"/>
                  </a:lnTo>
                  <a:lnTo>
                    <a:pt x="2529" y="1643"/>
                  </a:lnTo>
                  <a:lnTo>
                    <a:pt x="4264" y="1712"/>
                  </a:lnTo>
                  <a:lnTo>
                    <a:pt x="5955" y="1523"/>
                  </a:lnTo>
                  <a:lnTo>
                    <a:pt x="7536" y="1195"/>
                  </a:lnTo>
                  <a:cubicBezTo>
                    <a:pt x="7548" y="1116"/>
                    <a:pt x="7559" y="1037"/>
                    <a:pt x="7571" y="958"/>
                  </a:cubicBezTo>
                  <a:lnTo>
                    <a:pt x="7374" y="449"/>
                  </a:lnTo>
                  <a:cubicBezTo>
                    <a:pt x="7346" y="385"/>
                    <a:pt x="7399" y="201"/>
                    <a:pt x="7371" y="137"/>
                  </a:cubicBezTo>
                  <a:lnTo>
                    <a:pt x="7568" y="149"/>
                  </a:lnTo>
                  <a:lnTo>
                    <a:pt x="7875" y="597"/>
                  </a:lnTo>
                  <a:lnTo>
                    <a:pt x="8580" y="593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7458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</Words>
  <Application>Microsoft Office PowerPoint</Application>
  <PresentationFormat>Benutzerdefiniert</PresentationFormat>
  <Paragraphs>10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Wingdings</vt:lpstr>
      <vt:lpstr>Office-Design</vt:lpstr>
      <vt:lpstr>[3] Externe Analyse der Umwelt | Markt</vt:lpstr>
    </vt:vector>
  </TitlesOfParts>
  <Manager/>
  <Company>Punktsprung Agentur für Kommunikation und Gestaltun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subject/>
  <dc:creator>Office 2004 Test Drive-Benutzer</dc:creator>
  <cp:keywords/>
  <dc:description/>
  <cp:lastModifiedBy>Robin Ruhnau</cp:lastModifiedBy>
  <cp:revision>1220</cp:revision>
  <cp:lastPrinted>2018-11-20T14:33:40Z</cp:lastPrinted>
  <dcterms:created xsi:type="dcterms:W3CDTF">2012-08-24T16:38:14Z</dcterms:created>
  <dcterms:modified xsi:type="dcterms:W3CDTF">2020-04-21T11:27:31Z</dcterms:modified>
  <cp:category/>
  <cp:contentStatus/>
</cp:coreProperties>
</file>